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48" r:id="rId2"/>
    <p:sldId id="341" r:id="rId3"/>
    <p:sldId id="350" r:id="rId4"/>
    <p:sldId id="320" r:id="rId5"/>
    <p:sldId id="332" r:id="rId6"/>
    <p:sldId id="322" r:id="rId7"/>
    <p:sldId id="323" r:id="rId8"/>
    <p:sldId id="349" r:id="rId9"/>
    <p:sldId id="344" r:id="rId10"/>
    <p:sldId id="345" r:id="rId11"/>
    <p:sldId id="346" r:id="rId12"/>
  </p:sldIdLst>
  <p:sldSz cx="9144000" cy="6858000" type="screen4x3"/>
  <p:notesSz cx="6735763" cy="98663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4544"/>
    <a:srgbClr val="356BE3"/>
    <a:srgbClr val="2E923A"/>
    <a:srgbClr val="FFCC00"/>
    <a:srgbClr val="0000FF"/>
    <a:srgbClr val="E1561C"/>
    <a:srgbClr val="F3AE11"/>
    <a:srgbClr val="EB89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927" autoAdjust="0"/>
    <p:restoredTop sz="99424" autoAdjust="0"/>
  </p:normalViewPr>
  <p:slideViewPr>
    <p:cSldViewPr>
      <p:cViewPr varScale="1">
        <p:scale>
          <a:sx n="46" d="100"/>
          <a:sy n="46" d="100"/>
        </p:scale>
        <p:origin x="1494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7825" cy="493713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6350" y="0"/>
            <a:ext cx="2917825" cy="493713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D568BA9-BD70-40C9-A2E5-B795C681AD96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7" tIns="45683" rIns="91367" bIns="45683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688" y="4686300"/>
            <a:ext cx="5386387" cy="4440238"/>
          </a:xfrm>
          <a:prstGeom prst="rect">
            <a:avLst/>
          </a:prstGeom>
        </p:spPr>
        <p:txBody>
          <a:bodyPr vert="horz" lIns="91367" tIns="45683" rIns="91367" bIns="45683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7825" cy="493712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6350" y="9371013"/>
            <a:ext cx="2917825" cy="493712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E1DB334-4AB2-482C-9D56-42A0D6B370F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07014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6387" name="Номер слайда 3"/>
          <p:cNvSpPr txBox="1">
            <a:spLocks noGrp="1"/>
          </p:cNvSpPr>
          <p:nvPr/>
        </p:nvSpPr>
        <p:spPr bwMode="auto">
          <a:xfrm>
            <a:off x="3816350" y="9371013"/>
            <a:ext cx="2917825" cy="49371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367" tIns="45683" rIns="91367" bIns="45683" anchor="b"/>
          <a:lstStyle/>
          <a:p>
            <a:pPr algn="r">
              <a:defRPr/>
            </a:pPr>
            <a:fld id="{C5FF51B7-3C26-48DE-94E4-C0AAD0D347A9}" type="slidenum">
              <a:rPr lang="ru-RU" sz="1200">
                <a:solidFill>
                  <a:srgbClr val="000000"/>
                </a:solidFill>
                <a:latin typeface="+mn-lt"/>
              </a:rPr>
              <a:pPr algn="r">
                <a:defRPr/>
              </a:pPr>
              <a:t>8</a:t>
            </a:fld>
            <a:endParaRPr lang="ru-RU" sz="120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66695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AD16D5-80B3-4413-A593-FC8CA32F67DB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DF1361-7251-41BB-87BD-C8982C3490D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05DC9-B1F8-4A34-BBD5-4C9697A6A956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7F2F8A-2967-4381-A600-E18316C675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0471F0-BC71-45BA-B176-8359119001C8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C3FCBB-C086-4B9D-A755-E67808098C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303EFD-09F0-4E02-A720-66D98A7595DA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B35DE3-094D-4D68-A81F-BECC24F55E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3A082E-B7F6-4C8C-9EA2-1A3F62382084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D8BD0-3B4E-4987-8F4A-BA242FA43C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FA4E7-8FE0-42B7-A661-BE9E089468C5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1C2A7A-3570-407E-81F1-38E7416CB0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2E98FD-B007-4826-96A9-92BB15E9C1AE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22CA53-9717-4136-82CE-A1C30A89F2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D0DDE-3AB5-40AC-A496-64DCCCE8943B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C01A5A-293F-4C85-A7C8-AE380AEFA7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3B7D8F-BA4C-4FB2-8B8B-430955BD1468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C0672B-7135-4FCC-812D-99B0E7D7A9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0D13B8-CA3B-4CB1-B00C-44265F96AA31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9A9922-D930-4A5D-805E-44F7ECEC39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1C93DF-8640-4317-BB09-5A73000F524D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0C0B3F-C8A1-45D9-94FD-54DE7FBDE3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CD27395-5F7C-4FD5-8047-696B52142E9D}" type="datetimeFigureOut">
              <a:rPr lang="ru-RU"/>
              <a:pPr>
                <a:defRPr/>
              </a:pPr>
              <a:t>07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B37A680-5755-4B10-B0C8-E9C64A90BF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6.jpe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7.jpeg"/><Relationship Id="rId5" Type="http://schemas.openxmlformats.org/officeDocument/2006/relationships/image" Target="../media/image4.jpeg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8.jpeg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jpeg"/><Relationship Id="rId5" Type="http://schemas.openxmlformats.org/officeDocument/2006/relationships/image" Target="../media/image4.jpeg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7" name="Группа 2"/>
          <p:cNvGrpSpPr>
            <a:grpSpLocks/>
          </p:cNvGrpSpPr>
          <p:nvPr/>
        </p:nvGrpSpPr>
        <p:grpSpPr bwMode="auto">
          <a:xfrm>
            <a:off x="0" y="44450"/>
            <a:ext cx="9144000" cy="6840538"/>
            <a:chOff x="0" y="142042"/>
            <a:chExt cx="9144000" cy="6840760"/>
          </a:xfrm>
        </p:grpSpPr>
        <p:pic>
          <p:nvPicPr>
            <p:cNvPr id="14340" name="Picture 3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142042"/>
              <a:ext cx="9143999" cy="6311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341" name="Picture 4" descr="C:\Users\Somova_MYU\Desktop\3200х2400_3 (4 к 3).jp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0" y="6453335"/>
              <a:ext cx="9144000" cy="5294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4338" name="Picture 2" descr="D:\Users\admin\Desktop\1лист вставить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7504" y="1293813"/>
            <a:ext cx="5381625" cy="357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9" name="Text Box 8"/>
          <p:cNvSpPr txBox="1">
            <a:spLocks noChangeArrowheads="1"/>
          </p:cNvSpPr>
          <p:nvPr/>
        </p:nvSpPr>
        <p:spPr bwMode="auto">
          <a:xfrm>
            <a:off x="4643438" y="1722438"/>
            <a:ext cx="5051425" cy="316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3053" tIns="41528" rIns="83053" bIns="41528">
            <a:spAutoFit/>
          </a:bodyPr>
          <a:lstStyle/>
          <a:p>
            <a:pPr algn="ctr"/>
            <a:r>
              <a:rPr lang="ru-RU" altLang="ru-RU" sz="2000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О реализации </a:t>
            </a:r>
          </a:p>
          <a:p>
            <a:pPr algn="ctr"/>
            <a:r>
              <a:rPr lang="ru-RU" altLang="ru-RU" sz="2000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проекта строительства </a:t>
            </a:r>
          </a:p>
          <a:p>
            <a:pPr algn="ctr"/>
            <a:endParaRPr lang="ru-RU" altLang="ru-RU" sz="2000" b="1">
              <a:solidFill>
                <a:srgbClr val="4C4544"/>
              </a:solidFill>
              <a:latin typeface="Tahoma" pitchFamily="34" charset="0"/>
              <a:cs typeface="Tahoma" pitchFamily="34" charset="0"/>
            </a:endParaRPr>
          </a:p>
          <a:p>
            <a:pPr algn="ctr"/>
            <a:r>
              <a:rPr lang="ru-RU" altLang="ru-RU" sz="2000" b="1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Автомобильной дороги</a:t>
            </a:r>
          </a:p>
          <a:p>
            <a:pPr algn="ctr"/>
            <a:r>
              <a:rPr lang="ru-RU" altLang="ru-RU" sz="2000" b="1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«Москва-Ярославль-</a:t>
            </a:r>
          </a:p>
          <a:p>
            <a:pPr algn="ctr"/>
            <a:r>
              <a:rPr lang="ru-RU" altLang="ru-RU" sz="2000" b="1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Кострома-Киров-Пермь-</a:t>
            </a:r>
          </a:p>
          <a:p>
            <a:pPr algn="ctr"/>
            <a:r>
              <a:rPr lang="ru-RU" altLang="ru-RU" sz="2000" b="1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Екатеринбург на участке</a:t>
            </a:r>
          </a:p>
          <a:p>
            <a:pPr algn="ctr"/>
            <a:r>
              <a:rPr lang="ru-RU" altLang="ru-RU" sz="2000" b="1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обхода города Костромы</a:t>
            </a:r>
          </a:p>
          <a:p>
            <a:pPr algn="ctr"/>
            <a:r>
              <a:rPr lang="ru-RU" altLang="ru-RU" sz="2000" b="1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с мостом через реку Волгу»</a:t>
            </a:r>
            <a:endParaRPr lang="en-US" altLang="ru-RU" sz="2000" b="1">
              <a:solidFill>
                <a:srgbClr val="4C4544"/>
              </a:solidFill>
              <a:latin typeface="Tahoma" pitchFamily="34" charset="0"/>
              <a:cs typeface="Tahoma" pitchFamily="34" charset="0"/>
            </a:endParaRPr>
          </a:p>
          <a:p>
            <a:pPr algn="ctr"/>
            <a:endParaRPr lang="ru-RU" altLang="ru-RU" sz="2000" b="1">
              <a:solidFill>
                <a:srgbClr val="4C4544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1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64388" y="188913"/>
            <a:ext cx="1812925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2" name="Заголовок 4"/>
          <p:cNvSpPr txBox="1">
            <a:spLocks/>
          </p:cNvSpPr>
          <p:nvPr/>
        </p:nvSpPr>
        <p:spPr bwMode="auto">
          <a:xfrm>
            <a:off x="179388" y="188913"/>
            <a:ext cx="6983412" cy="1262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6" tIns="45689" rIns="91376" bIns="45689">
            <a:spAutoFit/>
          </a:bodyPr>
          <a:lstStyle/>
          <a:p>
            <a:pPr defTabSz="830263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Организационно-правовая и финансовая схема реализации проекта с привлечением средств ФНБ</a:t>
            </a:r>
          </a:p>
          <a:p>
            <a:pPr defTabSz="830263"/>
            <a:endParaRPr lang="ru-RU" sz="2000">
              <a:solidFill>
                <a:srgbClr val="4C4544"/>
              </a:solidFill>
              <a:latin typeface="Tahoma" pitchFamily="34" charset="0"/>
              <a:cs typeface="Tahoma" pitchFamily="34" charset="0"/>
            </a:endParaRPr>
          </a:p>
          <a:p>
            <a:pPr defTabSz="830263"/>
            <a:endParaRPr lang="ru-RU" sz="2000">
              <a:solidFill>
                <a:srgbClr val="4C4544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519889" y="854075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979613" y="1141413"/>
            <a:ext cx="1944687" cy="674687"/>
          </a:xfrm>
          <a:prstGeom prst="rect">
            <a:avLst/>
          </a:prstGeom>
          <a:solidFill>
            <a:srgbClr val="F3AE1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14" tIns="45708" rIns="91414" bIns="45708" anchor="ctr"/>
          <a:lstStyle/>
          <a:p>
            <a:pPr algn="ctr" defTabSz="828675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Федеральный бюджет</a:t>
            </a:r>
          </a:p>
        </p:txBody>
      </p:sp>
      <p:sp>
        <p:nvSpPr>
          <p:cNvPr id="6" name="Полилиния 5"/>
          <p:cNvSpPr/>
          <p:nvPr/>
        </p:nvSpPr>
        <p:spPr>
          <a:xfrm>
            <a:off x="3119438" y="2495550"/>
            <a:ext cx="2665412" cy="862013"/>
          </a:xfrm>
          <a:custGeom>
            <a:avLst/>
            <a:gdLst>
              <a:gd name="connsiteX0" fmla="*/ 0 w 2340453"/>
              <a:gd name="connsiteY0" fmla="*/ 127776 h 1277762"/>
              <a:gd name="connsiteX1" fmla="*/ 127776 w 2340453"/>
              <a:gd name="connsiteY1" fmla="*/ 0 h 1277762"/>
              <a:gd name="connsiteX2" fmla="*/ 2212677 w 2340453"/>
              <a:gd name="connsiteY2" fmla="*/ 0 h 1277762"/>
              <a:gd name="connsiteX3" fmla="*/ 2340453 w 2340453"/>
              <a:gd name="connsiteY3" fmla="*/ 127776 h 1277762"/>
              <a:gd name="connsiteX4" fmla="*/ 2340453 w 2340453"/>
              <a:gd name="connsiteY4" fmla="*/ 1149986 h 1277762"/>
              <a:gd name="connsiteX5" fmla="*/ 2212677 w 2340453"/>
              <a:gd name="connsiteY5" fmla="*/ 1277762 h 1277762"/>
              <a:gd name="connsiteX6" fmla="*/ 127776 w 2340453"/>
              <a:gd name="connsiteY6" fmla="*/ 1277762 h 1277762"/>
              <a:gd name="connsiteX7" fmla="*/ 0 w 2340453"/>
              <a:gd name="connsiteY7" fmla="*/ 1149986 h 1277762"/>
              <a:gd name="connsiteX8" fmla="*/ 0 w 2340453"/>
              <a:gd name="connsiteY8" fmla="*/ 127776 h 127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0453" h="1277762">
                <a:moveTo>
                  <a:pt x="0" y="127776"/>
                </a:moveTo>
                <a:cubicBezTo>
                  <a:pt x="0" y="57207"/>
                  <a:pt x="57207" y="0"/>
                  <a:pt x="127776" y="0"/>
                </a:cubicBezTo>
                <a:lnTo>
                  <a:pt x="2212677" y="0"/>
                </a:lnTo>
                <a:cubicBezTo>
                  <a:pt x="2283246" y="0"/>
                  <a:pt x="2340453" y="57207"/>
                  <a:pt x="2340453" y="127776"/>
                </a:cubicBezTo>
                <a:lnTo>
                  <a:pt x="2340453" y="1149986"/>
                </a:lnTo>
                <a:cubicBezTo>
                  <a:pt x="2340453" y="1220555"/>
                  <a:pt x="2283246" y="1277762"/>
                  <a:pt x="2212677" y="1277762"/>
                </a:cubicBezTo>
                <a:lnTo>
                  <a:pt x="127776" y="1277762"/>
                </a:lnTo>
                <a:cubicBezTo>
                  <a:pt x="57207" y="1277762"/>
                  <a:pt x="0" y="1220555"/>
                  <a:pt x="0" y="1149986"/>
                </a:cubicBezTo>
                <a:lnTo>
                  <a:pt x="0" y="127776"/>
                </a:lnTo>
                <a:close/>
              </a:path>
            </a:pathLst>
          </a:custGeom>
          <a:solidFill>
            <a:srgbClr val="E1561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8" rIns="91414" bIns="45708" anchor="ctr"/>
          <a:lstStyle/>
          <a:p>
            <a:pPr algn="ctr" defTabSz="830263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Государственная компания «Автодор» </a:t>
            </a:r>
          </a:p>
          <a:p>
            <a:pPr algn="ctr" defTabSz="830263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(концедент)</a:t>
            </a:r>
            <a:endParaRPr lang="ru-RU" sz="1500" b="1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721225" y="1141413"/>
            <a:ext cx="1609725" cy="674687"/>
          </a:xfrm>
          <a:prstGeom prst="rect">
            <a:avLst/>
          </a:prstGeom>
          <a:solidFill>
            <a:srgbClr val="F3AE1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14" tIns="45708" rIns="91414" bIns="45708" anchor="ctr"/>
          <a:lstStyle/>
          <a:p>
            <a:pPr algn="ctr" defTabSz="828675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Фонд национального благосостояния</a:t>
            </a:r>
          </a:p>
        </p:txBody>
      </p:sp>
      <p:sp>
        <p:nvSpPr>
          <p:cNvPr id="26" name="Полилиния 25"/>
          <p:cNvSpPr/>
          <p:nvPr/>
        </p:nvSpPr>
        <p:spPr>
          <a:xfrm>
            <a:off x="3468688" y="4149725"/>
            <a:ext cx="2117725" cy="719138"/>
          </a:xfrm>
          <a:custGeom>
            <a:avLst/>
            <a:gdLst>
              <a:gd name="connsiteX0" fmla="*/ 0 w 2340453"/>
              <a:gd name="connsiteY0" fmla="*/ 127776 h 1277762"/>
              <a:gd name="connsiteX1" fmla="*/ 127776 w 2340453"/>
              <a:gd name="connsiteY1" fmla="*/ 0 h 1277762"/>
              <a:gd name="connsiteX2" fmla="*/ 2212677 w 2340453"/>
              <a:gd name="connsiteY2" fmla="*/ 0 h 1277762"/>
              <a:gd name="connsiteX3" fmla="*/ 2340453 w 2340453"/>
              <a:gd name="connsiteY3" fmla="*/ 127776 h 1277762"/>
              <a:gd name="connsiteX4" fmla="*/ 2340453 w 2340453"/>
              <a:gd name="connsiteY4" fmla="*/ 1149986 h 1277762"/>
              <a:gd name="connsiteX5" fmla="*/ 2212677 w 2340453"/>
              <a:gd name="connsiteY5" fmla="*/ 1277762 h 1277762"/>
              <a:gd name="connsiteX6" fmla="*/ 127776 w 2340453"/>
              <a:gd name="connsiteY6" fmla="*/ 1277762 h 1277762"/>
              <a:gd name="connsiteX7" fmla="*/ 0 w 2340453"/>
              <a:gd name="connsiteY7" fmla="*/ 1149986 h 1277762"/>
              <a:gd name="connsiteX8" fmla="*/ 0 w 2340453"/>
              <a:gd name="connsiteY8" fmla="*/ 127776 h 127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0453" h="1277762">
                <a:moveTo>
                  <a:pt x="0" y="127776"/>
                </a:moveTo>
                <a:cubicBezTo>
                  <a:pt x="0" y="57207"/>
                  <a:pt x="57207" y="0"/>
                  <a:pt x="127776" y="0"/>
                </a:cubicBezTo>
                <a:lnTo>
                  <a:pt x="2212677" y="0"/>
                </a:lnTo>
                <a:cubicBezTo>
                  <a:pt x="2283246" y="0"/>
                  <a:pt x="2340453" y="57207"/>
                  <a:pt x="2340453" y="127776"/>
                </a:cubicBezTo>
                <a:lnTo>
                  <a:pt x="2340453" y="1149986"/>
                </a:lnTo>
                <a:cubicBezTo>
                  <a:pt x="2340453" y="1220555"/>
                  <a:pt x="2283246" y="1277762"/>
                  <a:pt x="2212677" y="1277762"/>
                </a:cubicBezTo>
                <a:lnTo>
                  <a:pt x="127776" y="1277762"/>
                </a:lnTo>
                <a:cubicBezTo>
                  <a:pt x="57207" y="1277762"/>
                  <a:pt x="0" y="1220555"/>
                  <a:pt x="0" y="1149986"/>
                </a:cubicBezTo>
                <a:lnTo>
                  <a:pt x="0" y="127776"/>
                </a:lnTo>
                <a:close/>
              </a:path>
            </a:pathLst>
          </a:custGeom>
          <a:solidFill>
            <a:srgbClr val="E1561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4" tIns="45708" rIns="91414" bIns="45708" anchor="ctr"/>
          <a:lstStyle/>
          <a:p>
            <a:pPr algn="ctr" defTabSz="830263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Специальная проектная компания (концессионер)</a:t>
            </a:r>
            <a:endParaRPr lang="ru-RU" sz="1500" b="1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77825" y="2608263"/>
            <a:ext cx="1443038" cy="636587"/>
          </a:xfrm>
          <a:prstGeom prst="rect">
            <a:avLst/>
          </a:prstGeom>
          <a:solidFill>
            <a:srgbClr val="F3AE1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14" tIns="45708" rIns="91414" bIns="45708" anchor="ctr"/>
          <a:lstStyle/>
          <a:p>
            <a:pPr algn="ctr" defTabSz="828675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Банк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878638" y="2608263"/>
            <a:ext cx="1795462" cy="636587"/>
          </a:xfrm>
          <a:prstGeom prst="rect">
            <a:avLst/>
          </a:prstGeom>
          <a:solidFill>
            <a:srgbClr val="F3AE1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14" tIns="45708" rIns="91414" bIns="45708" anchor="ctr"/>
          <a:lstStyle/>
          <a:p>
            <a:pPr algn="ctr" defTabSz="828675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Оператор ГК «Автодор»</a:t>
            </a:r>
          </a:p>
        </p:txBody>
      </p:sp>
      <p:cxnSp>
        <p:nvCxnSpPr>
          <p:cNvPr id="11" name="Прямая со стрелкой 10"/>
          <p:cNvCxnSpPr/>
          <p:nvPr/>
        </p:nvCxnSpPr>
        <p:spPr>
          <a:xfrm flipV="1">
            <a:off x="4932363" y="1816100"/>
            <a:ext cx="0" cy="67945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>
            <a:off x="5292725" y="1816100"/>
            <a:ext cx="0" cy="67945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5281613" y="3357563"/>
            <a:ext cx="0" cy="792162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>
            <a:off x="3868738" y="3357563"/>
            <a:ext cx="0" cy="792162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3348038" y="1816100"/>
            <a:ext cx="0" cy="67945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6888163" y="4046538"/>
            <a:ext cx="1795462" cy="635000"/>
          </a:xfrm>
          <a:prstGeom prst="rect">
            <a:avLst/>
          </a:prstGeom>
          <a:solidFill>
            <a:srgbClr val="F3AE1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14" tIns="45708" rIns="91414" bIns="45708" anchor="ctr"/>
          <a:lstStyle/>
          <a:p>
            <a:pPr algn="ctr" defTabSz="828675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Прямые инвесторы</a:t>
            </a:r>
          </a:p>
        </p:txBody>
      </p:sp>
      <p:cxnSp>
        <p:nvCxnSpPr>
          <p:cNvPr id="24" name="Прямая со стрелкой 23"/>
          <p:cNvCxnSpPr>
            <a:stCxn id="30" idx="1"/>
          </p:cNvCxnSpPr>
          <p:nvPr/>
        </p:nvCxnSpPr>
        <p:spPr>
          <a:xfrm flipH="1" flipV="1">
            <a:off x="5784850" y="2925763"/>
            <a:ext cx="1093788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H="1">
            <a:off x="5586413" y="4581525"/>
            <a:ext cx="1292225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/>
          <p:cNvSpPr/>
          <p:nvPr/>
        </p:nvSpPr>
        <p:spPr>
          <a:xfrm>
            <a:off x="377825" y="3989388"/>
            <a:ext cx="1601788" cy="952500"/>
          </a:xfrm>
          <a:prstGeom prst="rect">
            <a:avLst/>
          </a:prstGeom>
          <a:solidFill>
            <a:srgbClr val="F3AE11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14" tIns="45708" rIns="91414" bIns="45708" anchor="ctr"/>
          <a:lstStyle/>
          <a:p>
            <a:pPr algn="ctr" defTabSz="828675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Портфельные инвесторы, пенсионные фонды</a:t>
            </a:r>
          </a:p>
        </p:txBody>
      </p:sp>
      <p:cxnSp>
        <p:nvCxnSpPr>
          <p:cNvPr id="16388" name="Прямая со стрелкой 16387"/>
          <p:cNvCxnSpPr>
            <a:stCxn id="29" idx="2"/>
          </p:cNvCxnSpPr>
          <p:nvPr/>
        </p:nvCxnSpPr>
        <p:spPr>
          <a:xfrm>
            <a:off x="1098550" y="3244850"/>
            <a:ext cx="2370138" cy="1184275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90" name="Прямая со стрелкой 16389"/>
          <p:cNvCxnSpPr/>
          <p:nvPr/>
        </p:nvCxnSpPr>
        <p:spPr>
          <a:xfrm>
            <a:off x="1979613" y="4581525"/>
            <a:ext cx="1489075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2635250" y="5516563"/>
            <a:ext cx="1652588" cy="792162"/>
          </a:xfrm>
          <a:prstGeom prst="rect">
            <a:avLst/>
          </a:prstGeom>
          <a:solidFill>
            <a:srgbClr val="837E7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090" tIns="41544" rIns="83090" bIns="41544" anchor="ctr"/>
          <a:lstStyle/>
          <a:p>
            <a:pPr algn="ctr" defTabSz="828675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Генеральный подрядчи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4721225" y="5516563"/>
            <a:ext cx="1801813" cy="792162"/>
          </a:xfrm>
          <a:prstGeom prst="rect">
            <a:avLst/>
          </a:prstGeom>
          <a:solidFill>
            <a:srgbClr val="837E7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090" tIns="41544" rIns="83090" bIns="41544" anchor="ctr"/>
          <a:lstStyle/>
          <a:p>
            <a:pPr algn="ctr" defTabSz="828675">
              <a:defRPr/>
            </a:pPr>
            <a:r>
              <a:rPr lang="ru-RU" sz="150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Эксплуатирующая организация</a:t>
            </a:r>
          </a:p>
        </p:txBody>
      </p:sp>
      <p:cxnSp>
        <p:nvCxnSpPr>
          <p:cNvPr id="16393" name="Прямая соединительная линия 16392"/>
          <p:cNvCxnSpPr>
            <a:stCxn id="29" idx="3"/>
          </p:cNvCxnSpPr>
          <p:nvPr/>
        </p:nvCxnSpPr>
        <p:spPr>
          <a:xfrm flipV="1">
            <a:off x="1820863" y="2925763"/>
            <a:ext cx="1298575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95" name="Прямая соединительная линия 16394"/>
          <p:cNvCxnSpPr/>
          <p:nvPr/>
        </p:nvCxnSpPr>
        <p:spPr>
          <a:xfrm>
            <a:off x="1547813" y="3244850"/>
            <a:ext cx="1912937" cy="97155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97" name="Прямая соединительная линия 16396"/>
          <p:cNvCxnSpPr>
            <a:endCxn id="26" idx="1"/>
          </p:cNvCxnSpPr>
          <p:nvPr/>
        </p:nvCxnSpPr>
        <p:spPr>
          <a:xfrm>
            <a:off x="3584575" y="3357563"/>
            <a:ext cx="0" cy="792162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26" name="TextBox 16397"/>
          <p:cNvSpPr txBox="1">
            <a:spLocks noChangeArrowheads="1"/>
          </p:cNvSpPr>
          <p:nvPr/>
        </p:nvSpPr>
        <p:spPr bwMode="auto">
          <a:xfrm>
            <a:off x="1787525" y="2565400"/>
            <a:ext cx="13652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Прямое соглашение</a:t>
            </a:r>
          </a:p>
        </p:txBody>
      </p:sp>
      <p:sp>
        <p:nvSpPr>
          <p:cNvPr id="25627" name="TextBox 66"/>
          <p:cNvSpPr txBox="1">
            <a:spLocks noChangeArrowheads="1"/>
          </p:cNvSpPr>
          <p:nvPr/>
        </p:nvSpPr>
        <p:spPr bwMode="auto">
          <a:xfrm rot="1560000">
            <a:off x="1717675" y="3476625"/>
            <a:ext cx="15494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Кредитное соглашение</a:t>
            </a:r>
          </a:p>
        </p:txBody>
      </p:sp>
      <p:sp>
        <p:nvSpPr>
          <p:cNvPr id="25628" name="TextBox 98"/>
          <p:cNvSpPr txBox="1">
            <a:spLocks noChangeArrowheads="1"/>
          </p:cNvSpPr>
          <p:nvPr/>
        </p:nvSpPr>
        <p:spPr bwMode="auto">
          <a:xfrm>
            <a:off x="2544763" y="3330575"/>
            <a:ext cx="11239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Концессионное </a:t>
            </a:r>
          </a:p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     соглашение</a:t>
            </a:r>
          </a:p>
        </p:txBody>
      </p:sp>
      <p:sp>
        <p:nvSpPr>
          <p:cNvPr id="25629" name="TextBox 100"/>
          <p:cNvSpPr txBox="1">
            <a:spLocks noChangeArrowheads="1"/>
          </p:cNvSpPr>
          <p:nvPr/>
        </p:nvSpPr>
        <p:spPr bwMode="auto">
          <a:xfrm>
            <a:off x="3852863" y="3408363"/>
            <a:ext cx="96678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Капитальный</a:t>
            </a:r>
          </a:p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грант</a:t>
            </a:r>
          </a:p>
        </p:txBody>
      </p:sp>
      <p:sp>
        <p:nvSpPr>
          <p:cNvPr id="25630" name="TextBox 101"/>
          <p:cNvSpPr txBox="1">
            <a:spLocks noChangeArrowheads="1"/>
          </p:cNvSpPr>
          <p:nvPr/>
        </p:nvSpPr>
        <p:spPr bwMode="auto">
          <a:xfrm>
            <a:off x="5842000" y="3846513"/>
            <a:ext cx="9779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Акционерные</a:t>
            </a:r>
          </a:p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займы</a:t>
            </a:r>
          </a:p>
        </p:txBody>
      </p:sp>
      <p:sp>
        <p:nvSpPr>
          <p:cNvPr id="25631" name="TextBox 104"/>
          <p:cNvSpPr txBox="1">
            <a:spLocks noChangeArrowheads="1"/>
          </p:cNvSpPr>
          <p:nvPr/>
        </p:nvSpPr>
        <p:spPr bwMode="auto">
          <a:xfrm>
            <a:off x="5251450" y="3406775"/>
            <a:ext cx="8683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Плата </a:t>
            </a:r>
          </a:p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концедента</a:t>
            </a:r>
          </a:p>
        </p:txBody>
      </p:sp>
      <p:sp>
        <p:nvSpPr>
          <p:cNvPr id="25632" name="TextBox 105"/>
          <p:cNvSpPr txBox="1">
            <a:spLocks noChangeArrowheads="1"/>
          </p:cNvSpPr>
          <p:nvPr/>
        </p:nvSpPr>
        <p:spPr bwMode="auto">
          <a:xfrm>
            <a:off x="6010275" y="2530475"/>
            <a:ext cx="8683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Сбор платы</a:t>
            </a:r>
          </a:p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за проезд</a:t>
            </a:r>
          </a:p>
        </p:txBody>
      </p:sp>
      <p:sp>
        <p:nvSpPr>
          <p:cNvPr id="25633" name="TextBox 106"/>
          <p:cNvSpPr txBox="1">
            <a:spLocks noChangeArrowheads="1"/>
          </p:cNvSpPr>
          <p:nvPr/>
        </p:nvSpPr>
        <p:spPr bwMode="auto">
          <a:xfrm>
            <a:off x="5842000" y="4216400"/>
            <a:ext cx="9588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Собственный</a:t>
            </a:r>
          </a:p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капитал</a:t>
            </a:r>
          </a:p>
        </p:txBody>
      </p:sp>
      <p:sp>
        <p:nvSpPr>
          <p:cNvPr id="25634" name="TextBox 115"/>
          <p:cNvSpPr txBox="1">
            <a:spLocks noChangeArrowheads="1"/>
          </p:cNvSpPr>
          <p:nvPr/>
        </p:nvSpPr>
        <p:spPr bwMode="auto">
          <a:xfrm>
            <a:off x="5349875" y="1844675"/>
            <a:ext cx="109855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Выпуск </a:t>
            </a:r>
          </a:p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облигационных</a:t>
            </a:r>
          </a:p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займов</a:t>
            </a:r>
          </a:p>
        </p:txBody>
      </p:sp>
      <p:sp>
        <p:nvSpPr>
          <p:cNvPr id="25635" name="TextBox 116"/>
          <p:cNvSpPr txBox="1">
            <a:spLocks noChangeArrowheads="1"/>
          </p:cNvSpPr>
          <p:nvPr/>
        </p:nvSpPr>
        <p:spPr bwMode="auto">
          <a:xfrm>
            <a:off x="3429000" y="1916113"/>
            <a:ext cx="15557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Погашение</a:t>
            </a:r>
          </a:p>
          <a:p>
            <a:pPr algn="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облигационных займов</a:t>
            </a:r>
          </a:p>
        </p:txBody>
      </p:sp>
      <p:sp>
        <p:nvSpPr>
          <p:cNvPr id="25636" name="TextBox 117"/>
          <p:cNvSpPr txBox="1">
            <a:spLocks noChangeArrowheads="1"/>
          </p:cNvSpPr>
          <p:nvPr/>
        </p:nvSpPr>
        <p:spPr bwMode="auto">
          <a:xfrm>
            <a:off x="603250" y="1949450"/>
            <a:ext cx="27003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Субсидии в соответствии</a:t>
            </a:r>
          </a:p>
          <a:p>
            <a:pPr algn="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с Программой деятельности ГК «Автодор»</a:t>
            </a:r>
          </a:p>
        </p:txBody>
      </p:sp>
      <p:sp>
        <p:nvSpPr>
          <p:cNvPr id="25637" name="TextBox 118"/>
          <p:cNvSpPr txBox="1">
            <a:spLocks noChangeArrowheads="1"/>
          </p:cNvSpPr>
          <p:nvPr/>
        </p:nvSpPr>
        <p:spPr bwMode="auto">
          <a:xfrm>
            <a:off x="1909763" y="4206875"/>
            <a:ext cx="11652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Облигационные </a:t>
            </a:r>
          </a:p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займы</a:t>
            </a:r>
          </a:p>
        </p:txBody>
      </p:sp>
      <p:sp>
        <p:nvSpPr>
          <p:cNvPr id="25638" name="TextBox 68"/>
          <p:cNvSpPr txBox="1">
            <a:spLocks noChangeArrowheads="1"/>
          </p:cNvSpPr>
          <p:nvPr/>
        </p:nvSpPr>
        <p:spPr bwMode="auto">
          <a:xfrm rot="1560000">
            <a:off x="1938338" y="3603625"/>
            <a:ext cx="690562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Кредиты</a:t>
            </a:r>
          </a:p>
        </p:txBody>
      </p:sp>
      <p:cxnSp>
        <p:nvCxnSpPr>
          <p:cNvPr id="70" name="Прямая со стрелкой 69"/>
          <p:cNvCxnSpPr/>
          <p:nvPr/>
        </p:nvCxnSpPr>
        <p:spPr>
          <a:xfrm flipH="1">
            <a:off x="5580063" y="4221163"/>
            <a:ext cx="1292225" cy="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40" name="TextBox 47"/>
          <p:cNvSpPr txBox="1">
            <a:spLocks noChangeArrowheads="1"/>
          </p:cNvSpPr>
          <p:nvPr/>
        </p:nvSpPr>
        <p:spPr bwMode="auto">
          <a:xfrm>
            <a:off x="1908175" y="5013325"/>
            <a:ext cx="20955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Договор строительного подряда</a:t>
            </a:r>
          </a:p>
        </p:txBody>
      </p:sp>
      <p:sp>
        <p:nvSpPr>
          <p:cNvPr id="25641" name="TextBox 48"/>
          <p:cNvSpPr txBox="1">
            <a:spLocks noChangeArrowheads="1"/>
          </p:cNvSpPr>
          <p:nvPr/>
        </p:nvSpPr>
        <p:spPr bwMode="auto">
          <a:xfrm>
            <a:off x="5187950" y="5013325"/>
            <a:ext cx="187166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Эксплуатационный контракт</a:t>
            </a:r>
          </a:p>
        </p:txBody>
      </p:sp>
      <p:cxnSp>
        <p:nvCxnSpPr>
          <p:cNvPr id="50" name="Прямая со стрелкой 49"/>
          <p:cNvCxnSpPr/>
          <p:nvPr/>
        </p:nvCxnSpPr>
        <p:spPr>
          <a:xfrm>
            <a:off x="3995738" y="4868863"/>
            <a:ext cx="0" cy="64770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>
            <a:off x="5003800" y="4868863"/>
            <a:ext cx="0" cy="647700"/>
          </a:xfrm>
          <a:prstGeom prst="straightConnector1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44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8675688" y="6448425"/>
            <a:ext cx="3619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4A6C3F-D7EA-433E-94F2-66E09AEBBEB6}" type="slidenum">
              <a:rPr lang="ru-RU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ru-RU">
              <a:solidFill>
                <a:srgbClr val="898989"/>
              </a:solidFill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251520" y="854075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4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Прямоугольник 28"/>
          <p:cNvSpPr>
            <a:spLocks noChangeArrowheads="1"/>
          </p:cNvSpPr>
          <p:nvPr/>
        </p:nvSpPr>
        <p:spPr bwMode="auto">
          <a:xfrm>
            <a:off x="179388" y="173038"/>
            <a:ext cx="67183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9" tIns="45695" rIns="91389" bIns="45695">
            <a:spAutoFit/>
          </a:bodyPr>
          <a:lstStyle/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Распределение сверхдоходов в различных контрактных схемах при реализации проекта</a:t>
            </a:r>
          </a:p>
        </p:txBody>
      </p:sp>
      <p:pic>
        <p:nvPicPr>
          <p:cNvPr id="2662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50100" y="180975"/>
            <a:ext cx="1812925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27" name="Прямоугольник 15"/>
          <p:cNvSpPr>
            <a:spLocks noChangeArrowheads="1"/>
          </p:cNvSpPr>
          <p:nvPr/>
        </p:nvSpPr>
        <p:spPr bwMode="auto">
          <a:xfrm>
            <a:off x="827088" y="958850"/>
            <a:ext cx="307181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solidFill>
                  <a:srgbClr val="E1561C"/>
                </a:solidFill>
                <a:latin typeface="Tahoma" pitchFamily="34" charset="0"/>
                <a:cs typeface="Tahoma" pitchFamily="34" charset="0"/>
              </a:rPr>
              <a:t>Долгосрочное инвестиционное соглашение</a:t>
            </a:r>
          </a:p>
        </p:txBody>
      </p:sp>
      <p:sp>
        <p:nvSpPr>
          <p:cNvPr id="26628" name="TextBox 47"/>
          <p:cNvSpPr txBox="1">
            <a:spLocks noChangeArrowheads="1"/>
          </p:cNvSpPr>
          <p:nvPr/>
        </p:nvSpPr>
        <p:spPr bwMode="auto">
          <a:xfrm>
            <a:off x="7043738" y="2144713"/>
            <a:ext cx="184150" cy="246062"/>
          </a:xfrm>
          <a:prstGeom prst="rect">
            <a:avLst/>
          </a:prstGeom>
          <a:solidFill>
            <a:srgbClr val="FFFFFF">
              <a:alpha val="54117"/>
            </a:srgb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000">
              <a:solidFill>
                <a:srgbClr val="59595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6629" name="TextBox 51"/>
          <p:cNvSpPr txBox="1">
            <a:spLocks noChangeArrowheads="1"/>
          </p:cNvSpPr>
          <p:nvPr/>
        </p:nvSpPr>
        <p:spPr bwMode="auto">
          <a:xfrm>
            <a:off x="7043738" y="2390775"/>
            <a:ext cx="184150" cy="246063"/>
          </a:xfrm>
          <a:prstGeom prst="rect">
            <a:avLst/>
          </a:prstGeom>
          <a:solidFill>
            <a:srgbClr val="FFFFFF">
              <a:alpha val="54117"/>
            </a:srgb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000">
              <a:solidFill>
                <a:srgbClr val="595959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6630" name="Группа 16387"/>
          <p:cNvGrpSpPr>
            <a:grpSpLocks/>
          </p:cNvGrpSpPr>
          <p:nvPr/>
        </p:nvGrpSpPr>
        <p:grpSpPr bwMode="auto">
          <a:xfrm>
            <a:off x="490538" y="1700213"/>
            <a:ext cx="4624387" cy="2416175"/>
            <a:chOff x="489844" y="1732746"/>
            <a:chExt cx="4625257" cy="2416334"/>
          </a:xfrm>
        </p:grpSpPr>
        <p:grpSp>
          <p:nvGrpSpPr>
            <p:cNvPr id="26642" name="Группа 16386"/>
            <p:cNvGrpSpPr>
              <a:grpSpLocks/>
            </p:cNvGrpSpPr>
            <p:nvPr/>
          </p:nvGrpSpPr>
          <p:grpSpPr bwMode="auto">
            <a:xfrm>
              <a:off x="489844" y="1732746"/>
              <a:ext cx="4625257" cy="2416334"/>
              <a:chOff x="489844" y="1732746"/>
              <a:chExt cx="4625257" cy="2416334"/>
            </a:xfrm>
          </p:grpSpPr>
          <p:grpSp>
            <p:nvGrpSpPr>
              <p:cNvPr id="26644" name="Группа 29"/>
              <p:cNvGrpSpPr>
                <a:grpSpLocks/>
              </p:cNvGrpSpPr>
              <p:nvPr/>
            </p:nvGrpSpPr>
            <p:grpSpPr bwMode="auto">
              <a:xfrm>
                <a:off x="489844" y="1772816"/>
                <a:ext cx="3409230" cy="2376264"/>
                <a:chOff x="442690" y="1412776"/>
                <a:chExt cx="3409230" cy="2376264"/>
              </a:xfrm>
            </p:grpSpPr>
            <p:sp>
              <p:nvSpPr>
                <p:cNvPr id="14" name="Равнобедренный треугольник 13"/>
                <p:cNvSpPr/>
                <p:nvPr/>
              </p:nvSpPr>
              <p:spPr>
                <a:xfrm>
                  <a:off x="442690" y="2996825"/>
                  <a:ext cx="1014603" cy="571538"/>
                </a:xfrm>
                <a:custGeom>
                  <a:avLst/>
                  <a:gdLst>
                    <a:gd name="connsiteX0" fmla="*/ 0 w 1296144"/>
                    <a:gd name="connsiteY0" fmla="*/ 720080 h 720080"/>
                    <a:gd name="connsiteX1" fmla="*/ 648072 w 1296144"/>
                    <a:gd name="connsiteY1" fmla="*/ 0 h 720080"/>
                    <a:gd name="connsiteX2" fmla="*/ 1296144 w 1296144"/>
                    <a:gd name="connsiteY2" fmla="*/ 720080 h 720080"/>
                    <a:gd name="connsiteX3" fmla="*/ 0 w 1296144"/>
                    <a:gd name="connsiteY3" fmla="*/ 720080 h 720080"/>
                    <a:gd name="connsiteX0" fmla="*/ 0 w 1058019"/>
                    <a:gd name="connsiteY0" fmla="*/ 720080 h 720080"/>
                    <a:gd name="connsiteX1" fmla="*/ 648072 w 1058019"/>
                    <a:gd name="connsiteY1" fmla="*/ 0 h 720080"/>
                    <a:gd name="connsiteX2" fmla="*/ 1058019 w 1058019"/>
                    <a:gd name="connsiteY2" fmla="*/ 186680 h 720080"/>
                    <a:gd name="connsiteX3" fmla="*/ 0 w 1058019"/>
                    <a:gd name="connsiteY3" fmla="*/ 720080 h 720080"/>
                    <a:gd name="connsiteX0" fmla="*/ 0 w 1058019"/>
                    <a:gd name="connsiteY0" fmla="*/ 533400 h 533400"/>
                    <a:gd name="connsiteX1" fmla="*/ 19422 w 1058019"/>
                    <a:gd name="connsiteY1" fmla="*/ 3820 h 533400"/>
                    <a:gd name="connsiteX2" fmla="*/ 1058019 w 1058019"/>
                    <a:gd name="connsiteY2" fmla="*/ 0 h 533400"/>
                    <a:gd name="connsiteX3" fmla="*/ 0 w 1058019"/>
                    <a:gd name="connsiteY3" fmla="*/ 533400 h 533400"/>
                    <a:gd name="connsiteX0" fmla="*/ 0 w 1050704"/>
                    <a:gd name="connsiteY0" fmla="*/ 529580 h 529580"/>
                    <a:gd name="connsiteX1" fmla="*/ 19422 w 1050704"/>
                    <a:gd name="connsiteY1" fmla="*/ 0 h 529580"/>
                    <a:gd name="connsiteX2" fmla="*/ 1050704 w 1050704"/>
                    <a:gd name="connsiteY2" fmla="*/ 10810 h 529580"/>
                    <a:gd name="connsiteX3" fmla="*/ 0 w 1050704"/>
                    <a:gd name="connsiteY3" fmla="*/ 529580 h 529580"/>
                    <a:gd name="connsiteX0" fmla="*/ 0 w 1021444"/>
                    <a:gd name="connsiteY0" fmla="*/ 533401 h 533401"/>
                    <a:gd name="connsiteX1" fmla="*/ 19422 w 1021444"/>
                    <a:gd name="connsiteY1" fmla="*/ 3821 h 533401"/>
                    <a:gd name="connsiteX2" fmla="*/ 1021444 w 1021444"/>
                    <a:gd name="connsiteY2" fmla="*/ 0 h 533401"/>
                    <a:gd name="connsiteX3" fmla="*/ 0 w 1021444"/>
                    <a:gd name="connsiteY3" fmla="*/ 533401 h 533401"/>
                    <a:gd name="connsiteX0" fmla="*/ 0 w 1021444"/>
                    <a:gd name="connsiteY0" fmla="*/ 548031 h 548031"/>
                    <a:gd name="connsiteX1" fmla="*/ 19422 w 1021444"/>
                    <a:gd name="connsiteY1" fmla="*/ 3821 h 548031"/>
                    <a:gd name="connsiteX2" fmla="*/ 1021444 w 1021444"/>
                    <a:gd name="connsiteY2" fmla="*/ 0 h 548031"/>
                    <a:gd name="connsiteX3" fmla="*/ 0 w 1021444"/>
                    <a:gd name="connsiteY3" fmla="*/ 548031 h 548031"/>
                    <a:gd name="connsiteX0" fmla="*/ 0 w 1021444"/>
                    <a:gd name="connsiteY0" fmla="*/ 548031 h 554519"/>
                    <a:gd name="connsiteX1" fmla="*/ 19658 w 1021444"/>
                    <a:gd name="connsiteY1" fmla="*/ 549997 h 554519"/>
                    <a:gd name="connsiteX2" fmla="*/ 19422 w 1021444"/>
                    <a:gd name="connsiteY2" fmla="*/ 3821 h 554519"/>
                    <a:gd name="connsiteX3" fmla="*/ 1021444 w 1021444"/>
                    <a:gd name="connsiteY3" fmla="*/ 0 h 554519"/>
                    <a:gd name="connsiteX4" fmla="*/ 0 w 1021444"/>
                    <a:gd name="connsiteY4" fmla="*/ 548031 h 554519"/>
                    <a:gd name="connsiteX0" fmla="*/ 0 w 1021444"/>
                    <a:gd name="connsiteY0" fmla="*/ 548031 h 554519"/>
                    <a:gd name="connsiteX1" fmla="*/ 19658 w 1021444"/>
                    <a:gd name="connsiteY1" fmla="*/ 549997 h 554519"/>
                    <a:gd name="connsiteX2" fmla="*/ 19422 w 1021444"/>
                    <a:gd name="connsiteY2" fmla="*/ 3821 h 554519"/>
                    <a:gd name="connsiteX3" fmla="*/ 41603 w 1021444"/>
                    <a:gd name="connsiteY3" fmla="*/ 1357 h 554519"/>
                    <a:gd name="connsiteX4" fmla="*/ 1021444 w 1021444"/>
                    <a:gd name="connsiteY4" fmla="*/ 0 h 554519"/>
                    <a:gd name="connsiteX5" fmla="*/ 0 w 1021444"/>
                    <a:gd name="connsiteY5" fmla="*/ 548031 h 554519"/>
                    <a:gd name="connsiteX0" fmla="*/ 0 w 1014129"/>
                    <a:gd name="connsiteY0" fmla="*/ 555346 h 555449"/>
                    <a:gd name="connsiteX1" fmla="*/ 12343 w 1014129"/>
                    <a:gd name="connsiteY1" fmla="*/ 549997 h 555449"/>
                    <a:gd name="connsiteX2" fmla="*/ 12107 w 1014129"/>
                    <a:gd name="connsiteY2" fmla="*/ 3821 h 555449"/>
                    <a:gd name="connsiteX3" fmla="*/ 34288 w 1014129"/>
                    <a:gd name="connsiteY3" fmla="*/ 1357 h 555449"/>
                    <a:gd name="connsiteX4" fmla="*/ 1014129 w 1014129"/>
                    <a:gd name="connsiteY4" fmla="*/ 0 h 555449"/>
                    <a:gd name="connsiteX5" fmla="*/ 0 w 1014129"/>
                    <a:gd name="connsiteY5" fmla="*/ 555346 h 5554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14129" h="555449">
                      <a:moveTo>
                        <a:pt x="0" y="555346"/>
                      </a:moveTo>
                      <a:cubicBezTo>
                        <a:pt x="4114" y="538933"/>
                        <a:pt x="8229" y="566410"/>
                        <a:pt x="12343" y="549997"/>
                      </a:cubicBezTo>
                      <a:cubicBezTo>
                        <a:pt x="12264" y="367938"/>
                        <a:pt x="12186" y="185880"/>
                        <a:pt x="12107" y="3821"/>
                      </a:cubicBezTo>
                      <a:lnTo>
                        <a:pt x="34288" y="1357"/>
                      </a:lnTo>
                      <a:lnTo>
                        <a:pt x="1014129" y="0"/>
                      </a:lnTo>
                      <a:lnTo>
                        <a:pt x="0" y="555346"/>
                      </a:lnTo>
                      <a:close/>
                    </a:path>
                  </a:pathLst>
                </a:custGeom>
                <a:solidFill>
                  <a:srgbClr val="EB892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solidFill>
                      <a:prstClr val="white"/>
                    </a:solidFill>
                  </a:endParaRPr>
                </a:p>
              </p:txBody>
            </p:sp>
            <p:cxnSp>
              <p:nvCxnSpPr>
                <p:cNvPr id="4" name="Прямая со стрелкой 3"/>
                <p:cNvCxnSpPr/>
                <p:nvPr/>
              </p:nvCxnSpPr>
              <p:spPr>
                <a:xfrm flipV="1">
                  <a:off x="442690" y="1412396"/>
                  <a:ext cx="0" cy="2376644"/>
                </a:xfrm>
                <a:prstGeom prst="straightConnector1">
                  <a:avLst/>
                </a:prstGeom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" name="Прямая со стрелкой 5"/>
                <p:cNvCxnSpPr/>
                <p:nvPr/>
              </p:nvCxnSpPr>
              <p:spPr>
                <a:xfrm>
                  <a:off x="442690" y="3789040"/>
                  <a:ext cx="3409003" cy="0"/>
                </a:xfrm>
                <a:prstGeom prst="straightConnector1">
                  <a:avLst/>
                </a:prstGeom>
                <a:ln w="12700">
                  <a:solidFill>
                    <a:schemeClr val="tx1">
                      <a:lumMod val="65000"/>
                      <a:lumOff val="35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" name="Прямая соединительная линия 7"/>
                <p:cNvCxnSpPr/>
                <p:nvPr/>
              </p:nvCxnSpPr>
              <p:spPr>
                <a:xfrm>
                  <a:off x="442690" y="2996825"/>
                  <a:ext cx="3291506" cy="0"/>
                </a:xfrm>
                <a:prstGeom prst="line">
                  <a:avLst/>
                </a:prstGeom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" name="Прямая соединительная линия 10"/>
                <p:cNvCxnSpPr/>
                <p:nvPr/>
              </p:nvCxnSpPr>
              <p:spPr>
                <a:xfrm flipV="1">
                  <a:off x="442690" y="1699753"/>
                  <a:ext cx="3291506" cy="1873373"/>
                </a:xfrm>
                <a:prstGeom prst="line">
                  <a:avLst/>
                </a:prstGeom>
                <a:ln w="952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Прямая со стрелкой 22"/>
                <p:cNvCxnSpPr/>
                <p:nvPr/>
              </p:nvCxnSpPr>
              <p:spPr>
                <a:xfrm>
                  <a:off x="2556049" y="2996825"/>
                  <a:ext cx="0" cy="792215"/>
                </a:xfrm>
                <a:prstGeom prst="straightConnector1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  <a:headEnd type="arrow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Прямая со стрелкой 24"/>
                <p:cNvCxnSpPr/>
                <p:nvPr/>
              </p:nvCxnSpPr>
              <p:spPr>
                <a:xfrm>
                  <a:off x="2556049" y="2349082"/>
                  <a:ext cx="0" cy="647743"/>
                </a:xfrm>
                <a:prstGeom prst="straightConnector1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  <a:headEnd type="arrow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Прямая соединительная линия 28"/>
                <p:cNvCxnSpPr>
                  <a:stCxn id="14" idx="0"/>
                </p:cNvCxnSpPr>
                <p:nvPr/>
              </p:nvCxnSpPr>
              <p:spPr>
                <a:xfrm flipV="1">
                  <a:off x="442690" y="1699753"/>
                  <a:ext cx="2137177" cy="1868610"/>
                </a:xfrm>
                <a:prstGeom prst="line">
                  <a:avLst/>
                </a:prstGeom>
                <a:ln>
                  <a:solidFill>
                    <a:schemeClr val="tx1">
                      <a:lumMod val="85000"/>
                      <a:lumOff val="1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Прямая со стрелкой 30"/>
                <p:cNvCxnSpPr/>
                <p:nvPr/>
              </p:nvCxnSpPr>
              <p:spPr>
                <a:xfrm>
                  <a:off x="2556049" y="1699753"/>
                  <a:ext cx="0" cy="649330"/>
                </a:xfrm>
                <a:prstGeom prst="straightConnector1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  <a:headEnd type="arrow"/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6645" name="TextBox 16383"/>
              <p:cNvSpPr txBox="1">
                <a:spLocks noChangeArrowheads="1"/>
              </p:cNvSpPr>
              <p:nvPr/>
            </p:nvSpPr>
            <p:spPr bwMode="auto">
              <a:xfrm>
                <a:off x="1080147" y="1732746"/>
                <a:ext cx="1513555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r"/>
                <a:r>
                  <a:rPr lang="ru-RU" sz="1000" i="1">
                    <a:solidFill>
                      <a:srgbClr val="E1561C"/>
                    </a:solidFill>
                    <a:latin typeface="Tahoma" pitchFamily="34" charset="0"/>
                    <a:cs typeface="Tahoma" pitchFamily="34" charset="0"/>
                  </a:rPr>
                  <a:t>Выручка </a:t>
                </a:r>
              </a:p>
              <a:p>
                <a:pPr algn="r"/>
                <a:r>
                  <a:rPr lang="ru-RU" sz="1000" i="1">
                    <a:solidFill>
                      <a:srgbClr val="E1561C"/>
                    </a:solidFill>
                    <a:latin typeface="Tahoma" pitchFamily="34" charset="0"/>
                    <a:cs typeface="Tahoma" pitchFamily="34" charset="0"/>
                  </a:rPr>
                  <a:t>(фактический уровень</a:t>
                </a:r>
              </a:p>
              <a:p>
                <a:pPr algn="r"/>
                <a:r>
                  <a:rPr lang="ru-RU" sz="1000" i="1">
                    <a:solidFill>
                      <a:srgbClr val="E1561C"/>
                    </a:solidFill>
                    <a:latin typeface="Tahoma" pitchFamily="34" charset="0"/>
                    <a:cs typeface="Tahoma" pitchFamily="34" charset="0"/>
                  </a:rPr>
                  <a:t>трафика)</a:t>
                </a:r>
              </a:p>
            </p:txBody>
          </p:sp>
          <p:sp>
            <p:nvSpPr>
              <p:cNvPr id="26646" name="TextBox 43"/>
              <p:cNvSpPr txBox="1">
                <a:spLocks noChangeArrowheads="1"/>
              </p:cNvSpPr>
              <p:nvPr/>
            </p:nvSpPr>
            <p:spPr bwMode="auto">
              <a:xfrm>
                <a:off x="3419872" y="1764684"/>
                <a:ext cx="1695229" cy="400110"/>
              </a:xfrm>
              <a:prstGeom prst="rect">
                <a:avLst/>
              </a:prstGeom>
              <a:solidFill>
                <a:srgbClr val="FFFFFF">
                  <a:alpha val="54117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ru-RU" sz="1000" i="1">
                    <a:solidFill>
                      <a:srgbClr val="595959"/>
                    </a:solidFill>
                    <a:latin typeface="Tahoma" pitchFamily="34" charset="0"/>
                    <a:cs typeface="Tahoma" pitchFamily="34" charset="0"/>
                  </a:rPr>
                  <a:t>Выручка (базовый уровень трафика)</a:t>
                </a:r>
              </a:p>
            </p:txBody>
          </p:sp>
          <p:sp>
            <p:nvSpPr>
              <p:cNvPr id="26647" name="TextBox 45"/>
              <p:cNvSpPr txBox="1">
                <a:spLocks noChangeArrowheads="1"/>
              </p:cNvSpPr>
              <p:nvPr/>
            </p:nvSpPr>
            <p:spPr bwMode="auto">
              <a:xfrm>
                <a:off x="2580164" y="2132856"/>
                <a:ext cx="1572866" cy="246221"/>
              </a:xfrm>
              <a:prstGeom prst="rect">
                <a:avLst/>
              </a:prstGeom>
              <a:solidFill>
                <a:srgbClr val="FFFFFF">
                  <a:alpha val="54117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ru-RU" sz="1000">
                    <a:solidFill>
                      <a:srgbClr val="595959"/>
                    </a:solidFill>
                    <a:latin typeface="Tahoma" pitchFamily="34" charset="0"/>
                    <a:cs typeface="Tahoma" pitchFamily="34" charset="0"/>
                  </a:rPr>
                  <a:t> 90-95 % ГК «Автодор»</a:t>
                </a:r>
              </a:p>
            </p:txBody>
          </p:sp>
          <p:sp>
            <p:nvSpPr>
              <p:cNvPr id="26648" name="TextBox 46"/>
              <p:cNvSpPr txBox="1">
                <a:spLocks noChangeArrowheads="1"/>
              </p:cNvSpPr>
              <p:nvPr/>
            </p:nvSpPr>
            <p:spPr bwMode="auto">
              <a:xfrm>
                <a:off x="2627784" y="2924944"/>
                <a:ext cx="1415772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ru-RU" sz="1000">
                    <a:solidFill>
                      <a:srgbClr val="595959"/>
                    </a:solidFill>
                    <a:latin typeface="Tahoma" pitchFamily="34" charset="0"/>
                    <a:cs typeface="Tahoma" pitchFamily="34" charset="0"/>
                  </a:rPr>
                  <a:t>100 % ГК «Автодор»</a:t>
                </a:r>
              </a:p>
            </p:txBody>
          </p:sp>
          <p:sp>
            <p:nvSpPr>
              <p:cNvPr id="26649" name="TextBox 49"/>
              <p:cNvSpPr txBox="1">
                <a:spLocks noChangeArrowheads="1"/>
              </p:cNvSpPr>
              <p:nvPr/>
            </p:nvSpPr>
            <p:spPr bwMode="auto">
              <a:xfrm>
                <a:off x="2627784" y="3642493"/>
                <a:ext cx="115288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ru-RU" sz="1000">
                    <a:solidFill>
                      <a:srgbClr val="595959"/>
                    </a:solidFill>
                    <a:latin typeface="Tahoma" pitchFamily="34" charset="0"/>
                    <a:cs typeface="Tahoma" pitchFamily="34" charset="0"/>
                  </a:rPr>
                  <a:t>100 % Инвестор</a:t>
                </a:r>
              </a:p>
            </p:txBody>
          </p:sp>
        </p:grpSp>
        <p:sp>
          <p:nvSpPr>
            <p:cNvPr id="26643" name="TextBox 44"/>
            <p:cNvSpPr txBox="1">
              <a:spLocks noChangeArrowheads="1"/>
            </p:cNvSpPr>
            <p:nvPr/>
          </p:nvSpPr>
          <p:spPr bwMode="auto">
            <a:xfrm>
              <a:off x="3076237" y="3326795"/>
              <a:ext cx="1008609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000">
                  <a:solidFill>
                    <a:srgbClr val="E1561C"/>
                  </a:solidFill>
                  <a:latin typeface="Tahoma" pitchFamily="34" charset="0"/>
                  <a:cs typeface="Tahoma" pitchFamily="34" charset="0"/>
                </a:rPr>
                <a:t>Плата по ДИС</a:t>
              </a:r>
            </a:p>
          </p:txBody>
        </p:sp>
      </p:grpSp>
      <p:sp>
        <p:nvSpPr>
          <p:cNvPr id="26631" name="TextBox 53"/>
          <p:cNvSpPr txBox="1">
            <a:spLocks noChangeArrowheads="1"/>
          </p:cNvSpPr>
          <p:nvPr/>
        </p:nvSpPr>
        <p:spPr bwMode="auto">
          <a:xfrm>
            <a:off x="2625725" y="2390775"/>
            <a:ext cx="119856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5-10 % Инвестор</a:t>
            </a:r>
          </a:p>
        </p:txBody>
      </p:sp>
      <p:sp>
        <p:nvSpPr>
          <p:cNvPr id="26632" name="TextBox 60"/>
          <p:cNvSpPr txBox="1">
            <a:spLocks noChangeArrowheads="1"/>
          </p:cNvSpPr>
          <p:nvPr/>
        </p:nvSpPr>
        <p:spPr bwMode="auto">
          <a:xfrm>
            <a:off x="7700963" y="1731963"/>
            <a:ext cx="1335087" cy="247650"/>
          </a:xfrm>
          <a:prstGeom prst="rect">
            <a:avLst/>
          </a:prstGeom>
          <a:solidFill>
            <a:srgbClr val="FFFFFF">
              <a:alpha val="54117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i="1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)</a:t>
            </a:r>
          </a:p>
        </p:txBody>
      </p:sp>
      <p:grpSp>
        <p:nvGrpSpPr>
          <p:cNvPr id="26633" name="Группа 1"/>
          <p:cNvGrpSpPr>
            <a:grpSpLocks/>
          </p:cNvGrpSpPr>
          <p:nvPr/>
        </p:nvGrpSpPr>
        <p:grpSpPr bwMode="auto">
          <a:xfrm>
            <a:off x="490538" y="4437063"/>
            <a:ext cx="8329612" cy="2160587"/>
            <a:chOff x="489843" y="4293095"/>
            <a:chExt cx="8330629" cy="2160242"/>
          </a:xfrm>
        </p:grpSpPr>
        <p:sp>
          <p:nvSpPr>
            <p:cNvPr id="55" name="Прямоугольник с двумя скругленными противолежащими углами 54"/>
            <p:cNvSpPr/>
            <p:nvPr/>
          </p:nvSpPr>
          <p:spPr>
            <a:xfrm>
              <a:off x="489843" y="4293095"/>
              <a:ext cx="4010515" cy="2160242"/>
            </a:xfrm>
            <a:prstGeom prst="round2DiagRect">
              <a:avLst/>
            </a:prstGeom>
            <a:solidFill>
              <a:srgbClr val="E156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12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539061" y="4437534"/>
              <a:ext cx="3908902" cy="18713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171450" indent="-171450">
                <a:buFont typeface="Arial" charset="0"/>
                <a:buChar char="•"/>
                <a:defRPr/>
              </a:pPr>
              <a:r>
                <a:rPr lang="ru-RU" sz="110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вся выручка (доходы от сбора платы за проезд) поступает в пользу ГК «Автодор»;</a:t>
              </a:r>
            </a:p>
            <a:p>
              <a:pPr marL="171450" indent="-171450">
                <a:buFont typeface="Arial" charset="0"/>
                <a:buChar char="•"/>
                <a:defRPr/>
              </a:pPr>
              <a:r>
                <a:rPr lang="ru-RU" sz="110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из полученных доходов ГК «Автодор» выплачивает Инвестору плату по ДИС (включая инвестиционный и эксплуатационный платежи);</a:t>
              </a:r>
            </a:p>
            <a:p>
              <a:pPr marL="171450" indent="-171450">
                <a:buFont typeface="Arial" charset="0"/>
                <a:buChar char="•"/>
                <a:defRPr/>
              </a:pPr>
              <a:r>
                <a:rPr lang="ru-RU" sz="110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оставшаяся после платы по ДИС часть выручки остается в распоряжении ГК «Автодор»;</a:t>
              </a:r>
            </a:p>
            <a:p>
              <a:pPr marL="171450" indent="-171450">
                <a:buFont typeface="Arial" charset="0"/>
                <a:buChar char="•"/>
                <a:defRPr/>
              </a:pPr>
              <a:r>
                <a:rPr lang="ru-RU" sz="1100" b="1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при превышении фактического уровня выручки над запланированным, полученный сверхдоход распределяется в пропорции 90-95 % ГК «Автодор», 5-10% - Инвестор</a:t>
              </a:r>
              <a:r>
                <a:rPr lang="ru-RU" sz="1100">
                  <a:solidFill>
                    <a:srgbClr val="FFFFFF"/>
                  </a:solidFill>
                  <a:latin typeface="Tahoma" pitchFamily="34" charset="0"/>
                  <a:cs typeface="Tahoma" pitchFamily="34" charset="0"/>
                </a:rPr>
                <a:t>.</a:t>
              </a:r>
            </a:p>
          </p:txBody>
        </p:sp>
        <p:sp>
          <p:nvSpPr>
            <p:cNvPr id="57" name="Прямоугольник с двумя скругленными противолежащими углами 56"/>
            <p:cNvSpPr/>
            <p:nvPr/>
          </p:nvSpPr>
          <p:spPr>
            <a:xfrm>
              <a:off x="4809957" y="4293095"/>
              <a:ext cx="4010515" cy="2160242"/>
            </a:xfrm>
            <a:prstGeom prst="round2DiagRect">
              <a:avLst/>
            </a:prstGeom>
            <a:solidFill>
              <a:srgbClr val="4C45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12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860764" y="4437534"/>
              <a:ext cx="3907315" cy="18713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 lang="ru-RU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4825834" y="4437534"/>
              <a:ext cx="3907315" cy="187136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 lang="ru-RU"/>
              </a:defPPr>
              <a:lvl1pPr algn="ctr">
                <a:defRPr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171450" indent="-171450" algn="l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endParaRPr lang="ru-RU" sz="110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26634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8675688" y="6448425"/>
            <a:ext cx="3619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FF20202-8311-4ACE-BA08-00E922F58521}" type="slidenum">
              <a:rPr lang="ru-RU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ru-RU">
              <a:solidFill>
                <a:srgbClr val="898989"/>
              </a:solidFill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251520" y="854075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3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52400" y="180975"/>
            <a:ext cx="7561263" cy="374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782" tIns="47891" rIns="95782" bIns="47891" anchor="ctr"/>
          <a:lstStyle/>
          <a:p>
            <a:pPr algn="ctr">
              <a:defRPr/>
            </a:pPr>
            <a:r>
              <a:rPr lang="ru-RU">
                <a:solidFill>
                  <a:srgbClr val="404040"/>
                </a:solidFill>
                <a:latin typeface="Tahoma" pitchFamily="34" charset="0"/>
                <a:cs typeface="Tahoma" pitchFamily="34" charset="0"/>
              </a:rPr>
              <a:t>Схема (с разделением на пусковые комплексы)</a:t>
            </a:r>
          </a:p>
        </p:txBody>
      </p:sp>
      <p:pic>
        <p:nvPicPr>
          <p:cNvPr id="18434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50100" y="180975"/>
            <a:ext cx="1812925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5" name="Прямая соединительная линия 24"/>
          <p:cNvCxnSpPr/>
          <p:nvPr/>
        </p:nvCxnSpPr>
        <p:spPr>
          <a:xfrm>
            <a:off x="395535" y="1371600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3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18437" name="Picture 2" descr="D:\Users\admin\Desktop\1лист вставить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39700" y="531813"/>
            <a:ext cx="8896350" cy="621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8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8675688" y="6448425"/>
            <a:ext cx="3619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23DB0E0-A808-4DC0-B09F-1D2C5A1B235F}" type="slidenum">
              <a:rPr lang="ru-RU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>
              <a:solidFill>
                <a:srgbClr val="89898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65" name="Group 57"/>
          <p:cNvGraphicFramePr>
            <a:graphicFrameLocks noGrp="1"/>
          </p:cNvGraphicFramePr>
          <p:nvPr/>
        </p:nvGraphicFramePr>
        <p:xfrm>
          <a:off x="795338" y="2349500"/>
          <a:ext cx="7261225" cy="3506788"/>
        </p:xfrm>
        <a:graphic>
          <a:graphicData uri="http://schemas.openxmlformats.org/drawingml/2006/table">
            <a:tbl>
              <a:tblPr/>
              <a:tblGrid>
                <a:gridCol w="2076450"/>
                <a:gridCol w="504825"/>
                <a:gridCol w="1643062"/>
                <a:gridCol w="1597025"/>
                <a:gridCol w="143986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Наименование проекта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М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оимость проекта млрд. руб.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онтрактные схемы строительства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роки строительства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орректировка проекта 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-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0,144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инвестиционное соглашение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16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 пусковой комплекс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ПК 97 – ПК 214 с мостом ч/р Волгу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1,7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7,699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инвестиционное соглашение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17-2021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825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 пусковой комплекс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К 2+29 – ПК 97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9,5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,397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инвестиционное соглашение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19-2020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5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 пусковой комплекс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К 214 – ПК 314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0,0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,619</a:t>
                      </a: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инвестиционное соглашение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18-2019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84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4 пусковой комплекс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К 314 – ПК 385+82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7,2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,142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инвестиционное соглашение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20-2021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762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Итого по проектам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AE1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8,4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AE1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6,001</a:t>
                      </a: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AE1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AE1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83232" marR="83232" marT="41468" marB="4146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AE11"/>
                    </a:solidFill>
                  </a:tcPr>
                </a:tc>
              </a:tr>
            </a:tbl>
          </a:graphicData>
        </a:graphic>
      </p:graphicFrame>
      <p:pic>
        <p:nvPicPr>
          <p:cNvPr id="2974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50100" y="180975"/>
            <a:ext cx="1812925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49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1438" y="260350"/>
            <a:ext cx="90011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9" tIns="45695" rIns="91389" bIns="45695">
            <a:spAutoFit/>
          </a:bodyPr>
          <a:lstStyle/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Предложение ГК «Автодор» по реализации проекта </a:t>
            </a:r>
          </a:p>
          <a:p>
            <a:pPr defTabSz="830263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строительства а</a:t>
            </a:r>
            <a:r>
              <a:rPr lang="ru-RU" alt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втомобильной дороги «Москва-Ярославль-Кострома-Киров-Пермь-Екатеринбург на участке обхода города Костромы с мостом через реку Волгу»</a:t>
            </a:r>
            <a:endParaRPr lang="en-US" altLang="ru-RU">
              <a:solidFill>
                <a:srgbClr val="4C4544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461" name="Номер слайда 1"/>
          <p:cNvSpPr txBox="1">
            <a:spLocks noGrp="1"/>
          </p:cNvSpPr>
          <p:nvPr/>
        </p:nvSpPr>
        <p:spPr bwMode="auto">
          <a:xfrm>
            <a:off x="8675688" y="6448425"/>
            <a:ext cx="361950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637FE0E0-A9C7-49B5-B55F-F3AA1F974A12}" type="slidenum">
              <a:rPr lang="ru-RU" sz="1200">
                <a:solidFill>
                  <a:srgbClr val="898989"/>
                </a:solidFill>
                <a:latin typeface="+mn-lt"/>
              </a:rPr>
              <a:pPr algn="r">
                <a:defRPr/>
              </a:pPr>
              <a:t>3</a:t>
            </a:fld>
            <a:endParaRPr lang="ru-RU" sz="1200">
              <a:solidFill>
                <a:srgbClr val="898989"/>
              </a:solidFill>
              <a:latin typeface="+mn-lt"/>
            </a:endParaRPr>
          </a:p>
        </p:txBody>
      </p:sp>
      <p:cxnSp>
        <p:nvCxnSpPr>
          <p:cNvPr id="308" name="Прямая соединительная линия 307"/>
          <p:cNvCxnSpPr/>
          <p:nvPr/>
        </p:nvCxnSpPr>
        <p:spPr>
          <a:xfrm>
            <a:off x="251519" y="1231900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52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3513" y="212725"/>
            <a:ext cx="8872537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9" tIns="45695" rIns="91389" bIns="45695">
            <a:spAutoFit/>
          </a:bodyPr>
          <a:lstStyle/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Основные параметры Пускового комплекса № 1 </a:t>
            </a:r>
          </a:p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автомобильной дороги «Москва-Ярославль-Кострома-Киров-Пермь-Екатеринбург на участке обхода города Костромы с мостом через реку Волгу»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44475" y="3860800"/>
          <a:ext cx="4398963" cy="2325688"/>
        </p:xfrm>
        <a:graphic>
          <a:graphicData uri="http://schemas.openxmlformats.org/drawingml/2006/table">
            <a:tbl>
              <a:tblPr/>
              <a:tblGrid>
                <a:gridCol w="1231900"/>
                <a:gridCol w="3167063"/>
              </a:tblGrid>
              <a:tr h="33178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Основные технико-экономические показател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атегория дорог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 Б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роительная длин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1,7 к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Число полос движе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4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Ширина проезжей част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х7,5 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223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Ширина разделительной полос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5 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pic>
        <p:nvPicPr>
          <p:cNvPr id="1948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50100" y="180975"/>
            <a:ext cx="1812925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4716463" y="4076700"/>
          <a:ext cx="4132262" cy="2171700"/>
        </p:xfrm>
        <a:graphic>
          <a:graphicData uri="http://schemas.openxmlformats.org/drawingml/2006/table">
            <a:tbl>
              <a:tblPr/>
              <a:tblGrid>
                <a:gridCol w="2227262"/>
                <a:gridCol w="1905000"/>
              </a:tblGrid>
              <a:tr h="30321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оимость строительства ВСЕГО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(в ценах соответствующих лет), млрд. руб.: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2,6257  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841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Государственное финансирование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,36313(90 %), </a:t>
                      </a:r>
                    </a:p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 т.ч. средства ФНБ – 20,36313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5241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Частное финансирование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,26257(10 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841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онтрактная форма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 инвестиционное соглашение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90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Условия привлечения средств ФНБ: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роки привлечен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16-202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41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Условия привлечен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ыпуск облигаций</a:t>
                      </a:r>
                    </a:p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упонная ставка =инфляция+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роки возврата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20-203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9510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8675688" y="6448425"/>
            <a:ext cx="3619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8B832F-209B-4EC7-8110-1AB70496D051}" type="slidenum">
              <a:rPr lang="ru-RU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ru-RU">
              <a:solidFill>
                <a:srgbClr val="898989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251520" y="1127125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12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19513" name="Picture 2" descr="D:\Users\admin\Desktop\1 участок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71688" y="1412875"/>
            <a:ext cx="5000625" cy="238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8675688" y="6448425"/>
            <a:ext cx="3619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D4270D8-C831-4430-B213-07A11CCFD358}" type="slidenum">
              <a:rPr lang="ru-RU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>
              <a:solidFill>
                <a:srgbClr val="898989"/>
              </a:solidFill>
            </a:endParaRPr>
          </a:p>
        </p:txBody>
      </p:sp>
      <p:pic>
        <p:nvPicPr>
          <p:cNvPr id="2048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50100" y="180975"/>
            <a:ext cx="1812925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251520" y="1085850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244475" y="4311650"/>
          <a:ext cx="4287838" cy="2024063"/>
        </p:xfrm>
        <a:graphic>
          <a:graphicData uri="http://schemas.openxmlformats.org/drawingml/2006/table">
            <a:tbl>
              <a:tblPr/>
              <a:tblGrid>
                <a:gridCol w="1308100"/>
                <a:gridCol w="2979738"/>
              </a:tblGrid>
              <a:tr h="29527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Основные технико-экономические показател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атегория дорог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роительная длин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9,5 к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Число полос движе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404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Ширина проезжей част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7,5 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Ширина разделительной полос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4" name="Таблица 43"/>
          <p:cNvGraphicFramePr>
            <a:graphicFrameLocks noGrp="1"/>
          </p:cNvGraphicFramePr>
          <p:nvPr/>
        </p:nvGraphicFramePr>
        <p:xfrm>
          <a:off x="4638675" y="4346575"/>
          <a:ext cx="4248150" cy="1927225"/>
        </p:xfrm>
        <a:graphic>
          <a:graphicData uri="http://schemas.openxmlformats.org/drawingml/2006/table">
            <a:tbl>
              <a:tblPr/>
              <a:tblGrid>
                <a:gridCol w="2303463"/>
                <a:gridCol w="1944687"/>
              </a:tblGrid>
              <a:tr h="2349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оимость строительства ВСЕГО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(в ценах соответствующих лет), млрд. руб.: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,129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Государственное финансирование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,81655 (90,0%), </a:t>
                      </a:r>
                    </a:p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 т.ч. средства ФНБ – 2,8165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Частное финансирование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0,31295 (10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4064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онтрактная форма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 инвестиционное соглашение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68275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Условия привлечения средств ФНБ: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73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роки привлечен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18-201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Условия привлечен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ыпуск облигаций</a:t>
                      </a:r>
                    </a:p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упонная ставка =инфляция+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1873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роки возврата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20-203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0536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0537" name="Text Box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3513" y="212725"/>
            <a:ext cx="8872537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9" tIns="45695" rIns="91389" bIns="45695">
            <a:spAutoFit/>
          </a:bodyPr>
          <a:lstStyle/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Основные параметры Пускового комплекса № 2 </a:t>
            </a:r>
          </a:p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автомобильной дороги «Москва-Ярославль-Кострома-Киров-Пермь-Екатеринбург на участке обхода города Костромы с мостом через реку Волгу»</a:t>
            </a:r>
          </a:p>
        </p:txBody>
      </p:sp>
      <p:pic>
        <p:nvPicPr>
          <p:cNvPr id="20538" name="Picture 2" descr="D:\Users\admin\Desktop\2 участок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81150" y="1144588"/>
            <a:ext cx="5568950" cy="3167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4140200" y="1222375"/>
          <a:ext cx="4484688" cy="4171950"/>
        </p:xfrm>
        <a:graphic>
          <a:graphicData uri="http://schemas.openxmlformats.org/drawingml/2006/table">
            <a:tbl>
              <a:tblPr/>
              <a:tblGrid>
                <a:gridCol w="2432050"/>
                <a:gridCol w="2052638"/>
              </a:tblGrid>
              <a:tr h="38576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Основные технико-экономические показател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7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атегория дорог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07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роительная длин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0,0 к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07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Число полос движе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07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Ширина проезжей част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7,5 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Ширина разделительной полос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746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Стоимость строительства ВСЕГО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(в ценах соответствующих лет)       млрд. руб,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в том числе: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3,2213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Государственное финансирование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 2,89917 (90 %),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 в т.ч. средства ФНБ  2,8991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Частное финансирование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 0,32213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 (10 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5937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Контрактная схема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 инвестиционное соглашение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098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Условия привлечения средств ФНБ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Сроки привлечен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 2017-201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56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Условия привлечен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ыпуск облигаций, </a:t>
                      </a:r>
                    </a:p>
                    <a:p>
                      <a:pPr marL="85725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купонная ставка =инфляция+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Сроки возврата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 2020-203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1551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50100" y="180975"/>
            <a:ext cx="1812925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52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8675688" y="6448425"/>
            <a:ext cx="3619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B16B50F-E59B-4542-A155-C7A9DBE07114}" type="slidenum">
              <a:rPr lang="ru-RU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>
              <a:solidFill>
                <a:srgbClr val="898989"/>
              </a:solidFill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23526" y="1066800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5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1555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5738" y="180975"/>
            <a:ext cx="88741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9" tIns="45695" rIns="91389" bIns="45695">
            <a:spAutoFit/>
          </a:bodyPr>
          <a:lstStyle/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Основные параметры Пускового комплекса № 3 </a:t>
            </a:r>
          </a:p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автомобильной дороги «Москва-Ярославль-Кострома-Киров-Пермь-Екатеринбург на участке обхода города Костромы с мостом через реку Волгу»</a:t>
            </a:r>
          </a:p>
        </p:txBody>
      </p:sp>
      <p:pic>
        <p:nvPicPr>
          <p:cNvPr id="21556" name="Picture 2" descr="D:\Users\admin\Desktop\3 участок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11188" y="1196975"/>
            <a:ext cx="3095625" cy="548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7688" y="80963"/>
            <a:ext cx="4532312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400" b="1">
              <a:solidFill>
                <a:srgbClr val="003366"/>
              </a:solidFill>
              <a:latin typeface="Calibri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4427538" y="1265238"/>
          <a:ext cx="4392612" cy="4433887"/>
        </p:xfrm>
        <a:graphic>
          <a:graphicData uri="http://schemas.openxmlformats.org/drawingml/2006/table">
            <a:tbl>
              <a:tblPr/>
              <a:tblGrid>
                <a:gridCol w="2076450"/>
                <a:gridCol w="2316162"/>
              </a:tblGrid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Основные технико-экономические показател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атегория дорог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09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роительная длин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7,2 к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Число полос движе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Ширина проезжей част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7,5 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508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Ширина разделительной полос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оимость строительства ВСЕГО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(в ценах соответствующих лет)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млрд. руб.,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 том числе: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4,4583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Государственное финансирование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4,01247(90 %), </a:t>
                      </a:r>
                    </a:p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 т.ч. средства ФНБ  4,0124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27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Частное финансирование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0,44583 (10%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Контрактная схема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 инвестиционное соглашение</a:t>
                      </a:r>
                      <a:endParaRPr kumimoji="0" lang="ru-RU" sz="800" b="1" i="0" u="none" strike="noStrike" cap="none" normalizeH="0" baseline="3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Условия привлечения средств ФНБ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роки привлечен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19-202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Условия привлечения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ыпуск облигаций, </a:t>
                      </a:r>
                    </a:p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купонная ставка=инфляция+1%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роки возврата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020-203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257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50100" y="180975"/>
            <a:ext cx="1812925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77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8675688" y="6448425"/>
            <a:ext cx="3619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0E0D556-7CAA-4938-8D8B-BFBBFC92A1CE}" type="slidenum">
              <a:rPr lang="ru-RU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ru-RU">
              <a:solidFill>
                <a:srgbClr val="898989"/>
              </a:solidFill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23528" y="1085850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79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2580" name="Text Box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85738" y="180975"/>
            <a:ext cx="88741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9" tIns="45695" rIns="91389" bIns="45695">
            <a:spAutoFit/>
          </a:bodyPr>
          <a:lstStyle/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Основные параметры Пускового комплекса № 4 </a:t>
            </a:r>
          </a:p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автомобильной дороги «Москва-Ярославль-Кострома-Киров-Пермь-Екатеринбург на участке обхода города Костромы с мостом через реку Волгу»</a:t>
            </a:r>
          </a:p>
        </p:txBody>
      </p:sp>
      <p:pic>
        <p:nvPicPr>
          <p:cNvPr id="22581" name="Picture 2" descr="D:\Users\admin\Desktop\4 участок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09550" y="1268413"/>
            <a:ext cx="4075113" cy="543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2888" y="203200"/>
            <a:ext cx="6840537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9" tIns="45695" rIns="91389" bIns="45695">
            <a:spAutoFit/>
          </a:bodyPr>
          <a:lstStyle/>
          <a:p>
            <a:pPr algn="ctr" defTabSz="830263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Хронология реализации проекта строительства </a:t>
            </a:r>
            <a:r>
              <a:rPr lang="ru-RU" alt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Автомобильной дороги «Москва-Ярославль-Кострома-Киров-Пермь-Екатеринбург на участке обхода города Костромы</a:t>
            </a:r>
          </a:p>
          <a:p>
            <a:pPr algn="ctr" defTabSz="830263"/>
            <a:r>
              <a:rPr lang="ru-RU" alt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с мостом через реку Волгу»</a:t>
            </a:r>
            <a:endParaRPr lang="en-US" altLang="ru-RU">
              <a:solidFill>
                <a:srgbClr val="4C4544"/>
              </a:solidFill>
              <a:latin typeface="Tahoma" pitchFamily="34" charset="0"/>
              <a:cs typeface="Tahoma" pitchFamily="34" charset="0"/>
            </a:endParaRPr>
          </a:p>
          <a:p>
            <a:pPr defTabSz="830263" eaLnBrk="0" hangingPunct="0"/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  </a:t>
            </a:r>
          </a:p>
        </p:txBody>
      </p:sp>
      <p:sp>
        <p:nvSpPr>
          <p:cNvPr id="27651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2765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50100" y="180975"/>
            <a:ext cx="1812925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3" name="Прямоугольник 43"/>
          <p:cNvSpPr>
            <a:spLocks noChangeArrowheads="1"/>
          </p:cNvSpPr>
          <p:nvPr/>
        </p:nvSpPr>
        <p:spPr bwMode="auto">
          <a:xfrm>
            <a:off x="577850" y="2209800"/>
            <a:ext cx="8310563" cy="66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03200" indent="-203200" eaLnBrk="0" hangingPunct="0">
              <a:spcAft>
                <a:spcPts val="600"/>
              </a:spcAft>
              <a:buClr>
                <a:srgbClr val="E1561C"/>
              </a:buClr>
              <a:buFont typeface="Wingdings" pitchFamily="2" charset="2"/>
              <a:buChar char="§"/>
            </a:pPr>
            <a:r>
              <a:rPr lang="ru-RU" sz="900" b="1">
                <a:solidFill>
                  <a:srgbClr val="404040"/>
                </a:solidFill>
                <a:latin typeface="Tahoma" pitchFamily="34" charset="0"/>
                <a:cs typeface="Tahoma" pitchFamily="34" charset="0"/>
              </a:rPr>
              <a:t>Включение проекта в Федеральную целевую программу «Развитие транспортной системы России (2010-2015 гг.)» </a:t>
            </a:r>
          </a:p>
          <a:p>
            <a:pPr marL="203200" indent="-203200" eaLnBrk="0" hangingPunct="0">
              <a:spcAft>
                <a:spcPts val="600"/>
              </a:spcAft>
              <a:buClr>
                <a:srgbClr val="E1561C"/>
              </a:buClr>
              <a:buFont typeface="Wingdings" pitchFamily="2" charset="2"/>
              <a:buChar char="§"/>
            </a:pPr>
            <a:r>
              <a:rPr lang="ru-RU" sz="900" b="1">
                <a:solidFill>
                  <a:srgbClr val="404040"/>
                </a:solidFill>
                <a:latin typeface="Tahoma" pitchFamily="34" charset="0"/>
                <a:cs typeface="Tahoma" pitchFamily="34" charset="0"/>
              </a:rPr>
              <a:t>Включение проекта в Программу деятельности ГК «Автодор» на долгосрочный период (2010-2020 гг.)</a:t>
            </a:r>
            <a:endParaRPr lang="ru-RU" sz="900">
              <a:solidFill>
                <a:srgbClr val="404040"/>
              </a:solidFill>
              <a:latin typeface="Tahoma" pitchFamily="34" charset="0"/>
              <a:cs typeface="Tahoma" pitchFamily="34" charset="0"/>
            </a:endParaRPr>
          </a:p>
          <a:p>
            <a:pPr marL="203200" indent="-203200" eaLnBrk="0" hangingPunct="0">
              <a:spcAft>
                <a:spcPts val="600"/>
              </a:spcAft>
              <a:buClr>
                <a:srgbClr val="E1561C"/>
              </a:buClr>
              <a:buFont typeface="Wingdings" pitchFamily="2" charset="2"/>
              <a:buChar char="§"/>
            </a:pPr>
            <a:r>
              <a:rPr lang="ru-RU" sz="900" b="1">
                <a:solidFill>
                  <a:srgbClr val="404040"/>
                </a:solidFill>
                <a:latin typeface="Tahoma" pitchFamily="34" charset="0"/>
                <a:cs typeface="Tahoma" pitchFamily="34" charset="0"/>
              </a:rPr>
              <a:t>Разработка проектно-сметной документации</a:t>
            </a:r>
          </a:p>
        </p:txBody>
      </p:sp>
      <p:sp>
        <p:nvSpPr>
          <p:cNvPr id="27654" name="Прямоугольник 81"/>
          <p:cNvSpPr>
            <a:spLocks noChangeArrowheads="1"/>
          </p:cNvSpPr>
          <p:nvPr/>
        </p:nvSpPr>
        <p:spPr bwMode="auto">
          <a:xfrm>
            <a:off x="146050" y="2178050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 b="1">
                <a:solidFill>
                  <a:srgbClr val="E1561C"/>
                </a:solidFill>
                <a:latin typeface="Tahoma" pitchFamily="34" charset="0"/>
                <a:cs typeface="Tahoma" pitchFamily="34" charset="0"/>
              </a:rPr>
              <a:t>2016</a:t>
            </a:r>
            <a:endParaRPr lang="ru-RU" sz="1000">
              <a:solidFill>
                <a:srgbClr val="E1561C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7655" name="Прямоугольник 92"/>
          <p:cNvSpPr>
            <a:spLocks noChangeArrowheads="1"/>
          </p:cNvSpPr>
          <p:nvPr/>
        </p:nvSpPr>
        <p:spPr bwMode="auto">
          <a:xfrm>
            <a:off x="146050" y="3043238"/>
            <a:ext cx="5080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 b="1">
                <a:solidFill>
                  <a:srgbClr val="E1561C"/>
                </a:solidFill>
                <a:latin typeface="Tahoma" pitchFamily="34" charset="0"/>
                <a:cs typeface="Tahoma" pitchFamily="34" charset="0"/>
              </a:rPr>
              <a:t>2017</a:t>
            </a:r>
            <a:endParaRPr lang="ru-RU" sz="1000">
              <a:solidFill>
                <a:srgbClr val="E1561C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7656" name="Прямоугольник 93"/>
          <p:cNvSpPr>
            <a:spLocks noChangeArrowheads="1"/>
          </p:cNvSpPr>
          <p:nvPr/>
        </p:nvSpPr>
        <p:spPr bwMode="auto">
          <a:xfrm>
            <a:off x="577850" y="3052763"/>
            <a:ext cx="8455025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lvl="1" indent="-177800" algn="just" eaLnBrk="0" hangingPunct="0">
              <a:spcAft>
                <a:spcPts val="600"/>
              </a:spcAft>
              <a:buClr>
                <a:srgbClr val="E1561C"/>
              </a:buClr>
              <a:buFont typeface="Wingdings" pitchFamily="2" charset="2"/>
              <a:buChar char="§"/>
            </a:pPr>
            <a:r>
              <a:rPr lang="ru-RU" sz="900" b="1">
                <a:solidFill>
                  <a:srgbClr val="404040"/>
                </a:solidFill>
                <a:latin typeface="Tahoma" pitchFamily="34" charset="0"/>
                <a:cs typeface="Tahoma" pitchFamily="34" charset="0"/>
              </a:rPr>
              <a:t>Объявление открытого одноэтапного конкурса </a:t>
            </a:r>
            <a:r>
              <a:rPr lang="ru-RU" sz="900">
                <a:solidFill>
                  <a:srgbClr val="404040"/>
                </a:solidFill>
                <a:latin typeface="Tahoma" pitchFamily="34" charset="0"/>
                <a:cs typeface="Tahoma" pitchFamily="34" charset="0"/>
              </a:rPr>
              <a:t>на право заключения долгосрочного инвестиционного соглашения на строительство.</a:t>
            </a:r>
          </a:p>
        </p:txBody>
      </p:sp>
      <p:sp>
        <p:nvSpPr>
          <p:cNvPr id="15368" name="Номер слайда 1"/>
          <p:cNvSpPr txBox="1">
            <a:spLocks noGrp="1"/>
          </p:cNvSpPr>
          <p:nvPr/>
        </p:nvSpPr>
        <p:spPr bwMode="auto">
          <a:xfrm>
            <a:off x="8459788" y="6448425"/>
            <a:ext cx="361950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A6E97145-3BBA-468C-A3F0-7C5788E8FE64}" type="slidenum">
              <a:rPr lang="ru-RU" sz="1200">
                <a:solidFill>
                  <a:srgbClr val="898989"/>
                </a:solidFill>
                <a:latin typeface="+mn-lt"/>
              </a:rPr>
              <a:pPr algn="r">
                <a:defRPr/>
              </a:pPr>
              <a:t>8</a:t>
            </a:fld>
            <a:endParaRPr lang="ru-RU" sz="1200">
              <a:solidFill>
                <a:srgbClr val="898989"/>
              </a:solidFill>
              <a:latin typeface="+mn-lt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44691" y="1450975"/>
            <a:ext cx="6636661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16"/>
          <p:cNvSpPr>
            <a:spLocks noChangeArrowheads="1"/>
          </p:cNvSpPr>
          <p:nvPr/>
        </p:nvSpPr>
        <p:spPr bwMode="auto">
          <a:xfrm>
            <a:off x="152400" y="179388"/>
            <a:ext cx="223838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2" tIns="45702" rIns="91402" bIns="45702" anchor="ctr">
            <a:spAutoFit/>
          </a:bodyPr>
          <a:lstStyle/>
          <a:p>
            <a:pPr defTabSz="912813"/>
            <a:r>
              <a:rPr lang="ru-RU" sz="600">
                <a:solidFill>
                  <a:srgbClr val="000000"/>
                </a:solidFill>
                <a:cs typeface="Arial" charset="0"/>
              </a:rPr>
              <a:t/>
            </a:r>
            <a:br>
              <a:rPr lang="ru-RU" sz="600">
                <a:solidFill>
                  <a:srgbClr val="000000"/>
                </a:solidFill>
                <a:cs typeface="Arial" charset="0"/>
              </a:rPr>
            </a:br>
            <a:endParaRPr lang="ru-RU" sz="1200">
              <a:solidFill>
                <a:srgbClr val="000000"/>
              </a:solidFill>
              <a:ea typeface="Times New Roman" pitchFamily="18" charset="0"/>
              <a:cs typeface="Arial" charset="0"/>
            </a:endParaRPr>
          </a:p>
          <a:p>
            <a:pPr defTabSz="912813" eaLnBrk="0" hangingPunct="0"/>
            <a:r>
              <a:rPr lang="ru-RU" sz="1200">
                <a:solidFill>
                  <a:srgbClr val="4C4544"/>
                </a:solidFill>
                <a:latin typeface="Calibri" pitchFamily="34" charset="0"/>
                <a:ea typeface="Tahoma" pitchFamily="34" charset="0"/>
                <a:cs typeface="Times New Roman" pitchFamily="18" charset="0"/>
              </a:rPr>
              <a:t> </a:t>
            </a:r>
            <a:endParaRPr lang="ru-RU" sz="600">
              <a:solidFill>
                <a:srgbClr val="000000"/>
              </a:solidFill>
              <a:cs typeface="Arial" charset="0"/>
            </a:endParaRPr>
          </a:p>
          <a:p>
            <a:pPr defTabSz="912813" eaLnBrk="0" hangingPunct="0"/>
            <a:endParaRPr lang="ru-RU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4578" name="Rectangle 20"/>
          <p:cNvSpPr>
            <a:spLocks noChangeArrowheads="1"/>
          </p:cNvSpPr>
          <p:nvPr/>
        </p:nvSpPr>
        <p:spPr bwMode="auto">
          <a:xfrm>
            <a:off x="152400" y="425450"/>
            <a:ext cx="1841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2" tIns="45702" rIns="91402" bIns="45702" anchor="ctr">
            <a:spAutoFit/>
          </a:bodyPr>
          <a:lstStyle/>
          <a:p>
            <a:pPr defTabSz="912813"/>
            <a:endParaRPr lang="ru-RU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4579" name="Rectangle 22"/>
          <p:cNvSpPr>
            <a:spLocks noChangeArrowheads="1"/>
          </p:cNvSpPr>
          <p:nvPr/>
        </p:nvSpPr>
        <p:spPr bwMode="auto">
          <a:xfrm>
            <a:off x="152400" y="371475"/>
            <a:ext cx="25717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02" tIns="45702" rIns="91402" bIns="45702" anchor="ctr">
            <a:spAutoFit/>
          </a:bodyPr>
          <a:lstStyle/>
          <a:p>
            <a:pPr defTabSz="912813"/>
            <a:endParaRPr lang="ru-RU" sz="1200">
              <a:solidFill>
                <a:srgbClr val="4C4544"/>
              </a:solidFill>
              <a:ea typeface="Tahoma" pitchFamily="34" charset="0"/>
              <a:cs typeface="Arial" charset="0"/>
            </a:endParaRPr>
          </a:p>
          <a:p>
            <a:pPr defTabSz="912813" eaLnBrk="0" hangingPunct="0"/>
            <a:r>
              <a:rPr lang="ru-RU" sz="1200">
                <a:solidFill>
                  <a:srgbClr val="4C4544"/>
                </a:solidFill>
                <a:ea typeface="Tahoma" pitchFamily="34" charset="0"/>
                <a:cs typeface="Arial" charset="0"/>
              </a:rPr>
              <a:t> </a:t>
            </a:r>
            <a:r>
              <a:rPr lang="ru-RU" sz="600">
                <a:solidFill>
                  <a:srgbClr val="000000"/>
                </a:solidFill>
                <a:ea typeface="Tahoma" pitchFamily="34" charset="0"/>
                <a:cs typeface="Arial" charset="0"/>
              </a:rPr>
              <a:t> </a:t>
            </a:r>
            <a:endParaRPr lang="ru-RU">
              <a:solidFill>
                <a:srgbClr val="000000"/>
              </a:solidFill>
              <a:ea typeface="Tahoma" pitchFamily="34" charset="0"/>
              <a:cs typeface="Arial" charset="0"/>
            </a:endParaRPr>
          </a:p>
        </p:txBody>
      </p:sp>
      <p:sp>
        <p:nvSpPr>
          <p:cNvPr id="24580" name="Заголовок 4"/>
          <p:cNvSpPr txBox="1">
            <a:spLocks/>
          </p:cNvSpPr>
          <p:nvPr/>
        </p:nvSpPr>
        <p:spPr bwMode="auto">
          <a:xfrm>
            <a:off x="179388" y="430213"/>
            <a:ext cx="698341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13" tIns="45658" rIns="91313" bIns="45658">
            <a:spAutoFit/>
          </a:bodyPr>
          <a:lstStyle/>
          <a:p>
            <a:r>
              <a:rPr lang="ru-RU">
                <a:solidFill>
                  <a:srgbClr val="4C4544"/>
                </a:solidFill>
                <a:latin typeface="Tahoma" pitchFamily="34" charset="0"/>
                <a:cs typeface="Tahoma" pitchFamily="34" charset="0"/>
              </a:rPr>
              <a:t>Предлагаемые контрактные схемы реализации проекта</a:t>
            </a:r>
          </a:p>
        </p:txBody>
      </p:sp>
      <p:pic>
        <p:nvPicPr>
          <p:cNvPr id="24581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164388" y="188913"/>
            <a:ext cx="1812925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44475" y="1039813"/>
          <a:ext cx="8575675" cy="5514975"/>
        </p:xfrm>
        <a:graphic>
          <a:graphicData uri="http://schemas.openxmlformats.org/drawingml/2006/table">
            <a:tbl>
              <a:tblPr/>
              <a:tblGrid>
                <a:gridCol w="3103563"/>
                <a:gridCol w="360362"/>
                <a:gridCol w="2447925"/>
                <a:gridCol w="2663825"/>
              </a:tblGrid>
              <a:tr h="9509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C</a:t>
                      </a: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ущественные условия</a:t>
                      </a:r>
                    </a:p>
                  </a:txBody>
                  <a:tcPr marL="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45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45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45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C454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лгосрочное инвестиционное соглашение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C454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</a:tr>
              <a:tr h="542925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Предмет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одготовка территории строительства, строительство и эксплуатация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511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роки проведения конкурса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 месяца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658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Основания заключения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Решение Правления Государственной компании в рамках лимитов Программы деятельности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5857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Объем внебюджетного финансирования, привлекаемого у инвесторов (помимо средств ФНБ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 10-12%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523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орона соглашения со стороны публичного партнера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ГК «Автодор»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7032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равовая база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Федеральный закон РФ «О закупках товаров, работ, услуг отдельными видами юридических лиц» от 18 июля 2011 г.        № 223-ФЗ,  ГК РФ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10382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реимущества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561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озможность реализации в более короткие сроки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4C4544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ередача рисков по оформлению земельных участков инвестору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rgbClr val="4C4544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sp>
        <p:nvSpPr>
          <p:cNvPr id="24635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8675688" y="6448425"/>
            <a:ext cx="3619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A125F5E-D88A-45F9-960D-C1DF96313357}" type="slidenum">
              <a:rPr lang="ru-RU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ru-RU">
              <a:solidFill>
                <a:srgbClr val="898989"/>
              </a:solidFill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51520" y="854075"/>
            <a:ext cx="6428375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3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13550"/>
            <a:ext cx="9144000" cy="63500"/>
          </a:xfrm>
          <a:prstGeom prst="rect">
            <a:avLst/>
          </a:prstGeom>
          <a:gradFill rotWithShape="0">
            <a:gsLst>
              <a:gs pos="0">
                <a:srgbClr val="E1561C"/>
              </a:gs>
              <a:gs pos="100000">
                <a:srgbClr val="EB8921"/>
              </a:gs>
            </a:gsLst>
            <a:lin ang="1980000"/>
          </a:gradFill>
          <a:ln w="9525" algn="ctr">
            <a:noFill/>
            <a:miter lim="800000"/>
            <a:headEnd/>
            <a:tailEnd/>
          </a:ln>
        </p:spPr>
        <p:txBody>
          <a:bodyPr wrap="none" lIns="83090" tIns="41544" rIns="83090" bIns="41544" anchor="ctr"/>
          <a:lstStyle/>
          <a:p>
            <a:pPr algn="ctr"/>
            <a:endParaRPr lang="en-US" sz="800">
              <a:solidFill>
                <a:srgbClr val="45545F"/>
              </a:solidFill>
              <a:latin typeface="Calibri" pitchFamily="34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01</TotalTime>
  <Words>963</Words>
  <Application>Microsoft Office PowerPoint</Application>
  <PresentationFormat>Экран (4:3)</PresentationFormat>
  <Paragraphs>273</Paragraphs>
  <Slides>11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7" baseType="lpstr">
      <vt:lpstr>Arial</vt:lpstr>
      <vt:lpstr>Calibri</vt:lpstr>
      <vt:lpstr>Tahoma</vt:lpstr>
      <vt:lpstr>Times New Roman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грамма деятельности Государственной компании «российские автомобильные дороги» 2010-2020 годы</dc:title>
  <dc:creator>А. Федин</dc:creator>
  <cp:lastModifiedBy>Lenov8</cp:lastModifiedBy>
  <cp:revision>357</cp:revision>
  <cp:lastPrinted>2013-11-20T10:44:14Z</cp:lastPrinted>
  <dcterms:created xsi:type="dcterms:W3CDTF">2013-07-03T11:51:00Z</dcterms:created>
  <dcterms:modified xsi:type="dcterms:W3CDTF">2015-08-07T09:23:55Z</dcterms:modified>
</cp:coreProperties>
</file>